
<file path=[Content_Types].xml><?xml version="1.0" encoding="utf-8"?>
<Types xmlns="http://schemas.openxmlformats.org/package/2006/content-types">
  <Default Extension="png" ContentType="image/png"/>
  <Default Extension="bin" ContentType="image/jpe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6.xml" ContentType="application/vnd.openxmlformats-officedocument.presentationml.tags+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9.xml" ContentType="application/vnd.openxmlformats-officedocument.presentationml.tags+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media/image26.bin" ContentType="image/png"/>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8.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9.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44"/>
  </p:notesMasterIdLst>
  <p:handoutMasterIdLst>
    <p:handoutMasterId r:id="rId45"/>
  </p:handoutMasterIdLst>
  <p:sldIdLst>
    <p:sldId id="256" r:id="rId2"/>
    <p:sldId id="262" r:id="rId3"/>
    <p:sldId id="293" r:id="rId4"/>
    <p:sldId id="294" r:id="rId5"/>
    <p:sldId id="295" r:id="rId6"/>
    <p:sldId id="335" r:id="rId7"/>
    <p:sldId id="296" r:id="rId8"/>
    <p:sldId id="264" r:id="rId9"/>
    <p:sldId id="302" r:id="rId10"/>
    <p:sldId id="303" r:id="rId11"/>
    <p:sldId id="336" r:id="rId12"/>
    <p:sldId id="346" r:id="rId13"/>
    <p:sldId id="347" r:id="rId14"/>
    <p:sldId id="348" r:id="rId15"/>
    <p:sldId id="311" r:id="rId16"/>
    <p:sldId id="349" r:id="rId17"/>
    <p:sldId id="351" r:id="rId18"/>
    <p:sldId id="350" r:id="rId19"/>
    <p:sldId id="352" r:id="rId20"/>
    <p:sldId id="353" r:id="rId21"/>
    <p:sldId id="354" r:id="rId22"/>
    <p:sldId id="355" r:id="rId23"/>
    <p:sldId id="319" r:id="rId24"/>
    <p:sldId id="332" r:id="rId25"/>
    <p:sldId id="356" r:id="rId26"/>
    <p:sldId id="322" r:id="rId27"/>
    <p:sldId id="318" r:id="rId28"/>
    <p:sldId id="337" r:id="rId29"/>
    <p:sldId id="342" r:id="rId30"/>
    <p:sldId id="340" r:id="rId31"/>
    <p:sldId id="339" r:id="rId32"/>
    <p:sldId id="329" r:id="rId33"/>
    <p:sldId id="341" r:id="rId34"/>
    <p:sldId id="304" r:id="rId35"/>
    <p:sldId id="305" r:id="rId36"/>
    <p:sldId id="330" r:id="rId37"/>
    <p:sldId id="331" r:id="rId38"/>
    <p:sldId id="361" r:id="rId39"/>
    <p:sldId id="324" r:id="rId40"/>
    <p:sldId id="325" r:id="rId41"/>
    <p:sldId id="360" r:id="rId42"/>
    <p:sldId id="343" r:id="rId43"/>
  </p:sldIdLst>
  <p:sldSz cx="12192000" cy="6858000"/>
  <p:notesSz cx="6858000" cy="9144000"/>
  <p:custDataLst>
    <p:tags r:id="rId46"/>
  </p:custDataLst>
  <p:defaultTextStyle>
    <a:defPPr>
      <a:defRPr lang="en-US"/>
    </a:defPPr>
    <a:lvl1pPr marL="0" algn="l" defTabSz="892432" rtl="0" eaLnBrk="1" latinLnBrk="0" hangingPunct="1">
      <a:defRPr sz="1757" kern="1200">
        <a:solidFill>
          <a:schemeClr val="tx1"/>
        </a:solidFill>
        <a:latin typeface="+mn-lt"/>
        <a:ea typeface="+mn-ea"/>
        <a:cs typeface="+mn-cs"/>
      </a:defRPr>
    </a:lvl1pPr>
    <a:lvl2pPr marL="446216" algn="l" defTabSz="892432" rtl="0" eaLnBrk="1" latinLnBrk="0" hangingPunct="1">
      <a:defRPr sz="1757" kern="1200">
        <a:solidFill>
          <a:schemeClr val="tx1"/>
        </a:solidFill>
        <a:latin typeface="+mn-lt"/>
        <a:ea typeface="+mn-ea"/>
        <a:cs typeface="+mn-cs"/>
      </a:defRPr>
    </a:lvl2pPr>
    <a:lvl3pPr marL="892432" algn="l" defTabSz="892432" rtl="0" eaLnBrk="1" latinLnBrk="0" hangingPunct="1">
      <a:defRPr sz="1757" kern="1200">
        <a:solidFill>
          <a:schemeClr val="tx1"/>
        </a:solidFill>
        <a:latin typeface="+mn-lt"/>
        <a:ea typeface="+mn-ea"/>
        <a:cs typeface="+mn-cs"/>
      </a:defRPr>
    </a:lvl3pPr>
    <a:lvl4pPr marL="1338648" algn="l" defTabSz="892432" rtl="0" eaLnBrk="1" latinLnBrk="0" hangingPunct="1">
      <a:defRPr sz="1757" kern="1200">
        <a:solidFill>
          <a:schemeClr val="tx1"/>
        </a:solidFill>
        <a:latin typeface="+mn-lt"/>
        <a:ea typeface="+mn-ea"/>
        <a:cs typeface="+mn-cs"/>
      </a:defRPr>
    </a:lvl4pPr>
    <a:lvl5pPr marL="1784865" algn="l" defTabSz="892432" rtl="0" eaLnBrk="1" latinLnBrk="0" hangingPunct="1">
      <a:defRPr sz="1757" kern="1200">
        <a:solidFill>
          <a:schemeClr val="tx1"/>
        </a:solidFill>
        <a:latin typeface="+mn-lt"/>
        <a:ea typeface="+mn-ea"/>
        <a:cs typeface="+mn-cs"/>
      </a:defRPr>
    </a:lvl5pPr>
    <a:lvl6pPr marL="2231080" algn="l" defTabSz="892432" rtl="0" eaLnBrk="1" latinLnBrk="0" hangingPunct="1">
      <a:defRPr sz="1757" kern="1200">
        <a:solidFill>
          <a:schemeClr val="tx1"/>
        </a:solidFill>
        <a:latin typeface="+mn-lt"/>
        <a:ea typeface="+mn-ea"/>
        <a:cs typeface="+mn-cs"/>
      </a:defRPr>
    </a:lvl6pPr>
    <a:lvl7pPr marL="2677296" algn="l" defTabSz="892432" rtl="0" eaLnBrk="1" latinLnBrk="0" hangingPunct="1">
      <a:defRPr sz="1757" kern="1200">
        <a:solidFill>
          <a:schemeClr val="tx1"/>
        </a:solidFill>
        <a:latin typeface="+mn-lt"/>
        <a:ea typeface="+mn-ea"/>
        <a:cs typeface="+mn-cs"/>
      </a:defRPr>
    </a:lvl7pPr>
    <a:lvl8pPr marL="3123513" algn="l" defTabSz="892432" rtl="0" eaLnBrk="1" latinLnBrk="0" hangingPunct="1">
      <a:defRPr sz="1757" kern="1200">
        <a:solidFill>
          <a:schemeClr val="tx1"/>
        </a:solidFill>
        <a:latin typeface="+mn-lt"/>
        <a:ea typeface="+mn-ea"/>
        <a:cs typeface="+mn-cs"/>
      </a:defRPr>
    </a:lvl8pPr>
    <a:lvl9pPr marL="3569728" algn="l" defTabSz="892432" rtl="0" eaLnBrk="1" latinLnBrk="0" hangingPunct="1">
      <a:defRPr sz="1757"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2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2" autoAdjust="0"/>
    <p:restoredTop sz="79428" autoAdjust="0"/>
  </p:normalViewPr>
  <p:slideViewPr>
    <p:cSldViewPr snapToGrid="0" snapToObjects="1" showGuides="1">
      <p:cViewPr varScale="1">
        <p:scale>
          <a:sx n="52" d="100"/>
          <a:sy n="52" d="100"/>
        </p:scale>
        <p:origin x="946" y="43"/>
      </p:cViewPr>
      <p:guideLst>
        <p:guide orient="horz" pos="372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117" d="100"/>
          <a:sy n="117" d="100"/>
        </p:scale>
        <p:origin x="5028"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948169258680352E-2"/>
          <c:y val="6.9195442659891068E-2"/>
          <c:w val="0.91003921204076144"/>
          <c:h val="0.77961191468185109"/>
        </c:manualLayout>
      </c:layout>
      <c:barChart>
        <c:barDir val="col"/>
        <c:grouping val="clustered"/>
        <c:varyColors val="0"/>
        <c:dLbls>
          <c:showLegendKey val="0"/>
          <c:showVal val="0"/>
          <c:showCatName val="0"/>
          <c:showSerName val="0"/>
          <c:showPercent val="0"/>
          <c:showBubbleSize val="0"/>
        </c:dLbls>
        <c:gapWidth val="219"/>
        <c:overlap val="-27"/>
        <c:axId val="873339160"/>
        <c:axId val="873339552"/>
      </c:barChart>
      <c:catAx>
        <c:axId val="873339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873339552"/>
        <c:crosses val="autoZero"/>
        <c:auto val="1"/>
        <c:lblAlgn val="ctr"/>
        <c:lblOffset val="100"/>
        <c:noMultiLvlLbl val="0"/>
      </c:catAx>
      <c:valAx>
        <c:axId val="873339552"/>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2"/>
                    </a:solidFill>
                    <a:latin typeface="+mn-lt"/>
                    <a:ea typeface="+mn-ea"/>
                    <a:cs typeface="+mn-cs"/>
                  </a:defRPr>
                </a:pPr>
                <a:r>
                  <a:rPr lang="en-US" sz="1200" dirty="0"/>
                  <a:t>% of</a:t>
                </a:r>
                <a:r>
                  <a:rPr lang="en-US" sz="1200" baseline="0" dirty="0"/>
                  <a:t> case volume</a:t>
                </a:r>
                <a:endParaRPr lang="en-US" sz="1200" dirty="0"/>
              </a:p>
            </c:rich>
          </c:tx>
          <c:layout>
            <c:manualLayout>
              <c:xMode val="edge"/>
              <c:yMode val="edge"/>
              <c:x val="4.7318613456575342E-3"/>
              <c:y val="0.26775136582707298"/>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873339160"/>
        <c:crosses val="autoZero"/>
        <c:crossBetween val="between"/>
      </c:valAx>
      <c:spPr>
        <a:noFill/>
        <a:ln>
          <a:noFill/>
        </a:ln>
        <a:effectLst/>
      </c:spPr>
    </c:plotArea>
    <c:plotVisOnly val="1"/>
    <c:dispBlanksAs val="gap"/>
    <c:showDLblsOverMax val="0"/>
  </c:chart>
  <c:spPr>
    <a:noFill/>
    <a:ln>
      <a:noFill/>
    </a:ln>
    <a:effectLst/>
  </c:spPr>
  <c:txPr>
    <a:bodyPr/>
    <a:lstStyle/>
    <a:p>
      <a:pPr>
        <a:defRPr baseline="0">
          <a:solidFill>
            <a:schemeClr val="tx2"/>
          </a:solidFill>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573779-2EB9-4C94-91DB-4F5BD35451D6}"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5F97F1ED-60A1-476C-9235-DB1D7D28BF5A}">
      <dgm:prSet phldrT="[Text]" custT="1"/>
      <dgm:spPr/>
      <dgm:t>
        <a:bodyPr/>
        <a:lstStyle/>
        <a:p>
          <a:r>
            <a:rPr lang="en-US" sz="2000" dirty="0"/>
            <a:t>At the conclusion of this program, participants should be able to:</a:t>
          </a:r>
        </a:p>
      </dgm:t>
    </dgm:pt>
    <dgm:pt modelId="{B5CA3ACA-B078-419C-9102-9D2F6FF266EF}" type="parTrans" cxnId="{70080C4B-8AE1-4181-9E11-F230B008FECE}">
      <dgm:prSet/>
      <dgm:spPr/>
      <dgm:t>
        <a:bodyPr/>
        <a:lstStyle/>
        <a:p>
          <a:endParaRPr lang="en-US" sz="2000"/>
        </a:p>
      </dgm:t>
    </dgm:pt>
    <dgm:pt modelId="{76173950-1253-4854-960D-06A4ED998CE1}" type="sibTrans" cxnId="{70080C4B-8AE1-4181-9E11-F230B008FECE}">
      <dgm:prSet/>
      <dgm:spPr/>
      <dgm:t>
        <a:bodyPr/>
        <a:lstStyle/>
        <a:p>
          <a:endParaRPr lang="en-US" sz="2000"/>
        </a:p>
      </dgm:t>
    </dgm:pt>
    <dgm:pt modelId="{99C47F27-192C-4306-89C8-673C86F08E52}">
      <dgm:prSet phldrT="[Text]" custT="1"/>
      <dgm:spPr/>
      <dgm:t>
        <a:bodyPr/>
        <a:lstStyle/>
        <a:p>
          <a:pPr>
            <a:lnSpc>
              <a:spcPct val="100000"/>
            </a:lnSpc>
            <a:spcAft>
              <a:spcPts val="1200"/>
            </a:spcAft>
          </a:pPr>
          <a:r>
            <a:rPr lang="en-US" sz="2000" dirty="0">
              <a:solidFill>
                <a:schemeClr val="accent1"/>
              </a:solidFill>
            </a:rPr>
            <a:t>Define and provide examples of soft skills</a:t>
          </a:r>
        </a:p>
      </dgm:t>
    </dgm:pt>
    <dgm:pt modelId="{2AC585AC-6F2B-4A03-8F52-1CC98AEB5830}" type="parTrans" cxnId="{D69723AD-3041-4C46-A35A-1540B6285003}">
      <dgm:prSet/>
      <dgm:spPr/>
      <dgm:t>
        <a:bodyPr/>
        <a:lstStyle/>
        <a:p>
          <a:endParaRPr lang="en-US" sz="2000"/>
        </a:p>
      </dgm:t>
    </dgm:pt>
    <dgm:pt modelId="{BF6E6DDF-FD69-4542-BE7E-D4F12CABF474}" type="sibTrans" cxnId="{D69723AD-3041-4C46-A35A-1540B6285003}">
      <dgm:prSet/>
      <dgm:spPr/>
      <dgm:t>
        <a:bodyPr/>
        <a:lstStyle/>
        <a:p>
          <a:endParaRPr lang="en-US" sz="2000"/>
        </a:p>
      </dgm:t>
    </dgm:pt>
    <dgm:pt modelId="{57D76746-09C8-4C94-96BA-D13A5D6D068D}">
      <dgm:prSet phldrT="[Text]" custT="1"/>
      <dgm:spPr/>
      <dgm:t>
        <a:bodyPr/>
        <a:lstStyle/>
        <a:p>
          <a:pPr>
            <a:lnSpc>
              <a:spcPct val="100000"/>
            </a:lnSpc>
            <a:spcAft>
              <a:spcPts val="1200"/>
            </a:spcAft>
          </a:pPr>
          <a:r>
            <a:rPr lang="en-US" sz="2000" dirty="0">
              <a:solidFill>
                <a:schemeClr val="accent1"/>
              </a:solidFill>
            </a:rPr>
            <a:t>Describe the physician selection and training processes and how they have evolved in recent years</a:t>
          </a:r>
        </a:p>
      </dgm:t>
    </dgm:pt>
    <dgm:pt modelId="{539CB3E3-31C6-4CA2-A08D-84BD327E39CA}" type="parTrans" cxnId="{33FF68B8-4C9E-4B8D-A992-90D85405C8F6}">
      <dgm:prSet/>
      <dgm:spPr/>
      <dgm:t>
        <a:bodyPr/>
        <a:lstStyle/>
        <a:p>
          <a:endParaRPr lang="en-US" sz="2000"/>
        </a:p>
      </dgm:t>
    </dgm:pt>
    <dgm:pt modelId="{4403535E-6F67-4330-BB7D-EB65069588F8}" type="sibTrans" cxnId="{33FF68B8-4C9E-4B8D-A992-90D85405C8F6}">
      <dgm:prSet/>
      <dgm:spPr/>
      <dgm:t>
        <a:bodyPr/>
        <a:lstStyle/>
        <a:p>
          <a:endParaRPr lang="en-US" sz="2000"/>
        </a:p>
      </dgm:t>
    </dgm:pt>
    <dgm:pt modelId="{B01E702C-3E80-4890-9DBB-45A94763D14A}">
      <dgm:prSet phldrT="[Text]" custT="1"/>
      <dgm:spPr/>
      <dgm:t>
        <a:bodyPr/>
        <a:lstStyle/>
        <a:p>
          <a:pPr>
            <a:lnSpc>
              <a:spcPct val="100000"/>
            </a:lnSpc>
            <a:spcAft>
              <a:spcPts val="1200"/>
            </a:spcAft>
          </a:pPr>
          <a:r>
            <a:rPr lang="en-US" sz="2000" dirty="0">
              <a:solidFill>
                <a:schemeClr val="accent1"/>
              </a:solidFill>
            </a:rPr>
            <a:t>Understand the role of communication as a contributing factor in medical malpractice cases</a:t>
          </a:r>
        </a:p>
      </dgm:t>
    </dgm:pt>
    <dgm:pt modelId="{8972D7DB-09DB-4ABE-86FB-CB48E70E3BC1}" type="parTrans" cxnId="{82DA382A-424C-4FA3-A1F5-9FA413EC0642}">
      <dgm:prSet/>
      <dgm:spPr/>
      <dgm:t>
        <a:bodyPr/>
        <a:lstStyle/>
        <a:p>
          <a:endParaRPr lang="en-US" sz="2000"/>
        </a:p>
      </dgm:t>
    </dgm:pt>
    <dgm:pt modelId="{DB4CD766-A506-41D1-8979-9E2D3B91503A}" type="sibTrans" cxnId="{82DA382A-424C-4FA3-A1F5-9FA413EC0642}">
      <dgm:prSet/>
      <dgm:spPr/>
      <dgm:t>
        <a:bodyPr/>
        <a:lstStyle/>
        <a:p>
          <a:endParaRPr lang="en-US" sz="2000"/>
        </a:p>
      </dgm:t>
    </dgm:pt>
    <dgm:pt modelId="{744DB9E2-FD56-4701-98F8-BB42A7C066D8}">
      <dgm:prSet phldrT="[Text]" custT="1"/>
      <dgm:spPr/>
      <dgm:t>
        <a:bodyPr/>
        <a:lstStyle/>
        <a:p>
          <a:pPr>
            <a:lnSpc>
              <a:spcPct val="100000"/>
            </a:lnSpc>
            <a:spcAft>
              <a:spcPts val="1200"/>
            </a:spcAft>
          </a:pPr>
          <a:r>
            <a:rPr lang="en-US" sz="2000" dirty="0">
              <a:solidFill>
                <a:schemeClr val="accent1"/>
              </a:solidFill>
            </a:rPr>
            <a:t>Discuss the impact of disruptive behavior on workplace culture and </a:t>
          </a:r>
          <a:br>
            <a:rPr lang="en-US" sz="2000" dirty="0">
              <a:solidFill>
                <a:schemeClr val="accent1"/>
              </a:solidFill>
            </a:rPr>
          </a:br>
          <a:r>
            <a:rPr lang="en-US" sz="2000" dirty="0">
              <a:solidFill>
                <a:schemeClr val="accent1"/>
              </a:solidFill>
            </a:rPr>
            <a:t>quality of care</a:t>
          </a:r>
        </a:p>
      </dgm:t>
    </dgm:pt>
    <dgm:pt modelId="{AD28CB60-D638-4549-B042-90B3C03A6B6E}" type="parTrans" cxnId="{4B9D9D54-CB6C-4D9A-8D07-7F3F66D2A9F1}">
      <dgm:prSet/>
      <dgm:spPr/>
      <dgm:t>
        <a:bodyPr/>
        <a:lstStyle/>
        <a:p>
          <a:endParaRPr lang="en-US" sz="2000"/>
        </a:p>
      </dgm:t>
    </dgm:pt>
    <dgm:pt modelId="{8F79BE93-A01C-416C-B719-0763DC41E949}" type="sibTrans" cxnId="{4B9D9D54-CB6C-4D9A-8D07-7F3F66D2A9F1}">
      <dgm:prSet/>
      <dgm:spPr/>
      <dgm:t>
        <a:bodyPr/>
        <a:lstStyle/>
        <a:p>
          <a:endParaRPr lang="en-US" sz="2000"/>
        </a:p>
      </dgm:t>
    </dgm:pt>
    <dgm:pt modelId="{87EC2D95-933E-4DE2-8B30-7716ECEF619D}">
      <dgm:prSet phldrT="[Text]" custT="1"/>
      <dgm:spPr/>
      <dgm:t>
        <a:bodyPr/>
        <a:lstStyle/>
        <a:p>
          <a:pPr>
            <a:lnSpc>
              <a:spcPct val="100000"/>
            </a:lnSpc>
            <a:spcAft>
              <a:spcPts val="1200"/>
            </a:spcAft>
          </a:pPr>
          <a:r>
            <a:rPr lang="en-US" sz="2000" dirty="0">
              <a:solidFill>
                <a:schemeClr val="accent1"/>
              </a:solidFill>
            </a:rPr>
            <a:t>Explain the effects of burnout and empathy on staff retention and </a:t>
          </a:r>
          <a:br>
            <a:rPr lang="en-US" sz="2000" dirty="0">
              <a:solidFill>
                <a:schemeClr val="accent1"/>
              </a:solidFill>
            </a:rPr>
          </a:br>
          <a:r>
            <a:rPr lang="en-US" sz="2000" dirty="0">
              <a:solidFill>
                <a:schemeClr val="accent1"/>
              </a:solidFill>
            </a:rPr>
            <a:t>culture of safety</a:t>
          </a:r>
        </a:p>
      </dgm:t>
    </dgm:pt>
    <dgm:pt modelId="{62B69486-8FE6-49D2-ADB4-BEEA5D1FE535}" type="parTrans" cxnId="{DB945F9D-587F-49DF-9916-37E13B6ABE82}">
      <dgm:prSet/>
      <dgm:spPr/>
      <dgm:t>
        <a:bodyPr/>
        <a:lstStyle/>
        <a:p>
          <a:endParaRPr lang="en-US" sz="2000"/>
        </a:p>
      </dgm:t>
    </dgm:pt>
    <dgm:pt modelId="{9ED19651-B15B-485E-B2A8-02F724DF8640}" type="sibTrans" cxnId="{DB945F9D-587F-49DF-9916-37E13B6ABE82}">
      <dgm:prSet/>
      <dgm:spPr/>
      <dgm:t>
        <a:bodyPr/>
        <a:lstStyle/>
        <a:p>
          <a:endParaRPr lang="en-US" sz="2000"/>
        </a:p>
      </dgm:t>
    </dgm:pt>
    <dgm:pt modelId="{31BF138A-FBC2-49FA-8C9F-9545D12A58F3}">
      <dgm:prSet phldrT="[Text]" custT="1"/>
      <dgm:spPr/>
      <dgm:t>
        <a:bodyPr/>
        <a:lstStyle/>
        <a:p>
          <a:pPr>
            <a:lnSpc>
              <a:spcPct val="100000"/>
            </a:lnSpc>
            <a:spcAft>
              <a:spcPts val="1200"/>
            </a:spcAft>
          </a:pPr>
          <a:r>
            <a:rPr lang="en-US" sz="2000" dirty="0">
              <a:solidFill>
                <a:schemeClr val="accent1"/>
              </a:solidFill>
            </a:rPr>
            <a:t>Identify strategies for improving communication, teamwork, and </a:t>
          </a:r>
          <a:br>
            <a:rPr lang="en-US" sz="2000" dirty="0">
              <a:solidFill>
                <a:schemeClr val="accent1"/>
              </a:solidFill>
            </a:rPr>
          </a:br>
          <a:r>
            <a:rPr lang="en-US" sz="2000" dirty="0">
              <a:solidFill>
                <a:schemeClr val="accent1"/>
              </a:solidFill>
            </a:rPr>
            <a:t>behavior</a:t>
          </a:r>
        </a:p>
      </dgm:t>
    </dgm:pt>
    <dgm:pt modelId="{3F5131A8-1CB6-4E5A-AAE5-A029BDBF0B70}" type="parTrans" cxnId="{ACB69CB4-ADA6-4FEE-838E-55FB39D55C9D}">
      <dgm:prSet/>
      <dgm:spPr/>
      <dgm:t>
        <a:bodyPr/>
        <a:lstStyle/>
        <a:p>
          <a:endParaRPr lang="en-US" sz="2000"/>
        </a:p>
      </dgm:t>
    </dgm:pt>
    <dgm:pt modelId="{900D6BD9-E59F-4910-85A5-6E5ABAD2A052}" type="sibTrans" cxnId="{ACB69CB4-ADA6-4FEE-838E-55FB39D55C9D}">
      <dgm:prSet/>
      <dgm:spPr/>
      <dgm:t>
        <a:bodyPr/>
        <a:lstStyle/>
        <a:p>
          <a:endParaRPr lang="en-US" sz="2000"/>
        </a:p>
      </dgm:t>
    </dgm:pt>
    <dgm:pt modelId="{ADF91345-64B4-4F73-AF5A-B5AF940528D3}" type="pres">
      <dgm:prSet presAssocID="{20573779-2EB9-4C94-91DB-4F5BD35451D6}" presName="linear" presStyleCnt="0">
        <dgm:presLayoutVars>
          <dgm:dir/>
          <dgm:animLvl val="lvl"/>
          <dgm:resizeHandles val="exact"/>
        </dgm:presLayoutVars>
      </dgm:prSet>
      <dgm:spPr/>
      <dgm:t>
        <a:bodyPr/>
        <a:lstStyle/>
        <a:p>
          <a:endParaRPr lang="en-US"/>
        </a:p>
      </dgm:t>
    </dgm:pt>
    <dgm:pt modelId="{B1F9BFD4-6B33-47C0-B79C-20566D782638}" type="pres">
      <dgm:prSet presAssocID="{5F97F1ED-60A1-476C-9235-DB1D7D28BF5A}" presName="parentLin" presStyleCnt="0"/>
      <dgm:spPr/>
    </dgm:pt>
    <dgm:pt modelId="{4835392C-D986-4FC8-9EEB-D4408F78ACB4}" type="pres">
      <dgm:prSet presAssocID="{5F97F1ED-60A1-476C-9235-DB1D7D28BF5A}" presName="parentLeftMargin" presStyleLbl="node1" presStyleIdx="0" presStyleCnt="1"/>
      <dgm:spPr/>
      <dgm:t>
        <a:bodyPr/>
        <a:lstStyle/>
        <a:p>
          <a:endParaRPr lang="en-US"/>
        </a:p>
      </dgm:t>
    </dgm:pt>
    <dgm:pt modelId="{820BBBFD-402E-47AA-ABA1-51CE08A73B04}" type="pres">
      <dgm:prSet presAssocID="{5F97F1ED-60A1-476C-9235-DB1D7D28BF5A}" presName="parentText" presStyleLbl="node1" presStyleIdx="0" presStyleCnt="1" custScaleX="103003">
        <dgm:presLayoutVars>
          <dgm:chMax val="0"/>
          <dgm:bulletEnabled val="1"/>
        </dgm:presLayoutVars>
      </dgm:prSet>
      <dgm:spPr/>
      <dgm:t>
        <a:bodyPr/>
        <a:lstStyle/>
        <a:p>
          <a:endParaRPr lang="en-US"/>
        </a:p>
      </dgm:t>
    </dgm:pt>
    <dgm:pt modelId="{5AC8530A-1BBB-42F0-A463-66A076995056}" type="pres">
      <dgm:prSet presAssocID="{5F97F1ED-60A1-476C-9235-DB1D7D28BF5A}" presName="negativeSpace" presStyleCnt="0"/>
      <dgm:spPr/>
    </dgm:pt>
    <dgm:pt modelId="{79387135-D900-4564-B38F-F21C5B0FC804}" type="pres">
      <dgm:prSet presAssocID="{5F97F1ED-60A1-476C-9235-DB1D7D28BF5A}" presName="childText" presStyleLbl="conFgAcc1" presStyleIdx="0" presStyleCnt="1" custScaleY="105176">
        <dgm:presLayoutVars>
          <dgm:bulletEnabled val="1"/>
        </dgm:presLayoutVars>
      </dgm:prSet>
      <dgm:spPr/>
      <dgm:t>
        <a:bodyPr/>
        <a:lstStyle/>
        <a:p>
          <a:endParaRPr lang="en-US"/>
        </a:p>
      </dgm:t>
    </dgm:pt>
  </dgm:ptLst>
  <dgm:cxnLst>
    <dgm:cxn modelId="{70080C4B-8AE1-4181-9E11-F230B008FECE}" srcId="{20573779-2EB9-4C94-91DB-4F5BD35451D6}" destId="{5F97F1ED-60A1-476C-9235-DB1D7D28BF5A}" srcOrd="0" destOrd="0" parTransId="{B5CA3ACA-B078-419C-9102-9D2F6FF266EF}" sibTransId="{76173950-1253-4854-960D-06A4ED998CE1}"/>
    <dgm:cxn modelId="{11AF50FA-0E9B-4497-BA72-3EB5E9D7C40E}" type="presOf" srcId="{20573779-2EB9-4C94-91DB-4F5BD35451D6}" destId="{ADF91345-64B4-4F73-AF5A-B5AF940528D3}" srcOrd="0" destOrd="0" presId="urn:microsoft.com/office/officeart/2005/8/layout/list1"/>
    <dgm:cxn modelId="{DB945F9D-587F-49DF-9916-37E13B6ABE82}" srcId="{5F97F1ED-60A1-476C-9235-DB1D7D28BF5A}" destId="{87EC2D95-933E-4DE2-8B30-7716ECEF619D}" srcOrd="4" destOrd="0" parTransId="{62B69486-8FE6-49D2-ADB4-BEEA5D1FE535}" sibTransId="{9ED19651-B15B-485E-B2A8-02F724DF8640}"/>
    <dgm:cxn modelId="{7B915546-E8F0-4B56-B657-55B0EFFED229}" type="presOf" srcId="{57D76746-09C8-4C94-96BA-D13A5D6D068D}" destId="{79387135-D900-4564-B38F-F21C5B0FC804}" srcOrd="0" destOrd="1" presId="urn:microsoft.com/office/officeart/2005/8/layout/list1"/>
    <dgm:cxn modelId="{4B9D9D54-CB6C-4D9A-8D07-7F3F66D2A9F1}" srcId="{5F97F1ED-60A1-476C-9235-DB1D7D28BF5A}" destId="{744DB9E2-FD56-4701-98F8-BB42A7C066D8}" srcOrd="3" destOrd="0" parTransId="{AD28CB60-D638-4549-B042-90B3C03A6B6E}" sibTransId="{8F79BE93-A01C-416C-B719-0763DC41E949}"/>
    <dgm:cxn modelId="{83A97FD2-8892-45D5-87BA-FD7039C2D79B}" type="presOf" srcId="{5F97F1ED-60A1-476C-9235-DB1D7D28BF5A}" destId="{4835392C-D986-4FC8-9EEB-D4408F78ACB4}" srcOrd="0" destOrd="0" presId="urn:microsoft.com/office/officeart/2005/8/layout/list1"/>
    <dgm:cxn modelId="{9ED6DD33-AAAF-4C7A-8C65-1F888BCE6DA4}" type="presOf" srcId="{B01E702C-3E80-4890-9DBB-45A94763D14A}" destId="{79387135-D900-4564-B38F-F21C5B0FC804}" srcOrd="0" destOrd="2" presId="urn:microsoft.com/office/officeart/2005/8/layout/list1"/>
    <dgm:cxn modelId="{82DA382A-424C-4FA3-A1F5-9FA413EC0642}" srcId="{5F97F1ED-60A1-476C-9235-DB1D7D28BF5A}" destId="{B01E702C-3E80-4890-9DBB-45A94763D14A}" srcOrd="2" destOrd="0" parTransId="{8972D7DB-09DB-4ABE-86FB-CB48E70E3BC1}" sibTransId="{DB4CD766-A506-41D1-8979-9E2D3B91503A}"/>
    <dgm:cxn modelId="{05CF3724-6B90-43BF-9600-324D08BA00A6}" type="presOf" srcId="{31BF138A-FBC2-49FA-8C9F-9545D12A58F3}" destId="{79387135-D900-4564-B38F-F21C5B0FC804}" srcOrd="0" destOrd="5" presId="urn:microsoft.com/office/officeart/2005/8/layout/list1"/>
    <dgm:cxn modelId="{D69723AD-3041-4C46-A35A-1540B6285003}" srcId="{5F97F1ED-60A1-476C-9235-DB1D7D28BF5A}" destId="{99C47F27-192C-4306-89C8-673C86F08E52}" srcOrd="0" destOrd="0" parTransId="{2AC585AC-6F2B-4A03-8F52-1CC98AEB5830}" sibTransId="{BF6E6DDF-FD69-4542-BE7E-D4F12CABF474}"/>
    <dgm:cxn modelId="{33FF68B8-4C9E-4B8D-A992-90D85405C8F6}" srcId="{5F97F1ED-60A1-476C-9235-DB1D7D28BF5A}" destId="{57D76746-09C8-4C94-96BA-D13A5D6D068D}" srcOrd="1" destOrd="0" parTransId="{539CB3E3-31C6-4CA2-A08D-84BD327E39CA}" sibTransId="{4403535E-6F67-4330-BB7D-EB65069588F8}"/>
    <dgm:cxn modelId="{9835BBCC-2167-4B08-AC5F-7D3BC7C14FE9}" type="presOf" srcId="{99C47F27-192C-4306-89C8-673C86F08E52}" destId="{79387135-D900-4564-B38F-F21C5B0FC804}" srcOrd="0" destOrd="0" presId="urn:microsoft.com/office/officeart/2005/8/layout/list1"/>
    <dgm:cxn modelId="{B3810AED-34D9-48A3-989F-AB84F1869E41}" type="presOf" srcId="{87EC2D95-933E-4DE2-8B30-7716ECEF619D}" destId="{79387135-D900-4564-B38F-F21C5B0FC804}" srcOrd="0" destOrd="4" presId="urn:microsoft.com/office/officeart/2005/8/layout/list1"/>
    <dgm:cxn modelId="{ACB69CB4-ADA6-4FEE-838E-55FB39D55C9D}" srcId="{5F97F1ED-60A1-476C-9235-DB1D7D28BF5A}" destId="{31BF138A-FBC2-49FA-8C9F-9545D12A58F3}" srcOrd="5" destOrd="0" parTransId="{3F5131A8-1CB6-4E5A-AAE5-A029BDBF0B70}" sibTransId="{900D6BD9-E59F-4910-85A5-6E5ABAD2A052}"/>
    <dgm:cxn modelId="{9C625FB6-760D-47F7-8BB7-6D3D3D78DE2F}" type="presOf" srcId="{5F97F1ED-60A1-476C-9235-DB1D7D28BF5A}" destId="{820BBBFD-402E-47AA-ABA1-51CE08A73B04}" srcOrd="1" destOrd="0" presId="urn:microsoft.com/office/officeart/2005/8/layout/list1"/>
    <dgm:cxn modelId="{B492519C-F0D6-4E51-A44B-002D1E0B4506}" type="presOf" srcId="{744DB9E2-FD56-4701-98F8-BB42A7C066D8}" destId="{79387135-D900-4564-B38F-F21C5B0FC804}" srcOrd="0" destOrd="3" presId="urn:microsoft.com/office/officeart/2005/8/layout/list1"/>
    <dgm:cxn modelId="{9AF44EFF-CC14-4956-A040-7A696F8413C7}" type="presParOf" srcId="{ADF91345-64B4-4F73-AF5A-B5AF940528D3}" destId="{B1F9BFD4-6B33-47C0-B79C-20566D782638}" srcOrd="0" destOrd="0" presId="urn:microsoft.com/office/officeart/2005/8/layout/list1"/>
    <dgm:cxn modelId="{BC9CD6FC-CB95-4FE3-BC8A-2105D94E61DF}" type="presParOf" srcId="{B1F9BFD4-6B33-47C0-B79C-20566D782638}" destId="{4835392C-D986-4FC8-9EEB-D4408F78ACB4}" srcOrd="0" destOrd="0" presId="urn:microsoft.com/office/officeart/2005/8/layout/list1"/>
    <dgm:cxn modelId="{B1DC201B-AD57-4E70-8C66-D5DAC42CBB8A}" type="presParOf" srcId="{B1F9BFD4-6B33-47C0-B79C-20566D782638}" destId="{820BBBFD-402E-47AA-ABA1-51CE08A73B04}" srcOrd="1" destOrd="0" presId="urn:microsoft.com/office/officeart/2005/8/layout/list1"/>
    <dgm:cxn modelId="{CC02A706-E656-47F2-848C-6E29D710C19E}" type="presParOf" srcId="{ADF91345-64B4-4F73-AF5A-B5AF940528D3}" destId="{5AC8530A-1BBB-42F0-A463-66A076995056}" srcOrd="1" destOrd="0" presId="urn:microsoft.com/office/officeart/2005/8/layout/list1"/>
    <dgm:cxn modelId="{8EC5D3AF-472E-4B81-ACA9-A90E073B82C1}" type="presParOf" srcId="{ADF91345-64B4-4F73-AF5A-B5AF940528D3}" destId="{79387135-D900-4564-B38F-F21C5B0FC804}"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3C58E4C-AFE2-4602-AE41-F24098C6381D}"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DFC05C79-9C73-4EDA-8E2D-91F90D4956E2}">
      <dgm:prSet phldrT="[Text]" custT="1"/>
      <dgm:spPr/>
      <dgm:t>
        <a:bodyPr/>
        <a:lstStyle/>
        <a:p>
          <a:r>
            <a:rPr lang="en-US" sz="2000" dirty="0">
              <a:latin typeface="+mn-lt"/>
            </a:rPr>
            <a:t>Frequent job changes</a:t>
          </a:r>
        </a:p>
      </dgm:t>
    </dgm:pt>
    <dgm:pt modelId="{25812053-B6B0-43E3-8147-FED5841EF3DA}" type="parTrans" cxnId="{765F6573-4D8A-4A2F-B0E8-98C1101847B2}">
      <dgm:prSet/>
      <dgm:spPr/>
      <dgm:t>
        <a:bodyPr/>
        <a:lstStyle/>
        <a:p>
          <a:endParaRPr lang="en-US" sz="2000">
            <a:latin typeface="+mn-lt"/>
          </a:endParaRPr>
        </a:p>
      </dgm:t>
    </dgm:pt>
    <dgm:pt modelId="{71C5B50A-B11B-456F-9EC6-422FC07D8DE9}" type="sibTrans" cxnId="{765F6573-4D8A-4A2F-B0E8-98C1101847B2}">
      <dgm:prSet/>
      <dgm:spPr/>
      <dgm:t>
        <a:bodyPr/>
        <a:lstStyle/>
        <a:p>
          <a:endParaRPr lang="en-US" sz="2000">
            <a:latin typeface="+mn-lt"/>
          </a:endParaRPr>
        </a:p>
      </dgm:t>
    </dgm:pt>
    <dgm:pt modelId="{44B1074D-0DEF-4444-93EE-9C273F9EFC8A}">
      <dgm:prSet custT="1"/>
      <dgm:spPr/>
      <dgm:t>
        <a:bodyPr/>
        <a:lstStyle/>
        <a:p>
          <a:r>
            <a:rPr lang="en-US" sz="2000">
              <a:latin typeface="+mn-lt"/>
            </a:rPr>
            <a:t>Employed in jobs inappropriate for their qualifications</a:t>
          </a:r>
          <a:endParaRPr lang="en-US" sz="2000" dirty="0">
            <a:latin typeface="+mn-lt"/>
          </a:endParaRPr>
        </a:p>
      </dgm:t>
    </dgm:pt>
    <dgm:pt modelId="{22962446-5F49-41A2-B498-F5460A7D83E3}" type="parTrans" cxnId="{F8E249A6-1FF0-4B67-A267-682945ACFD9A}">
      <dgm:prSet/>
      <dgm:spPr/>
      <dgm:t>
        <a:bodyPr/>
        <a:lstStyle/>
        <a:p>
          <a:endParaRPr lang="en-US" sz="2000">
            <a:latin typeface="+mn-lt"/>
          </a:endParaRPr>
        </a:p>
      </dgm:t>
    </dgm:pt>
    <dgm:pt modelId="{E0C49D8B-F1A6-4B69-9636-6E1CB55BB12F}" type="sibTrans" cxnId="{F8E249A6-1FF0-4B67-A267-682945ACFD9A}">
      <dgm:prSet/>
      <dgm:spPr/>
      <dgm:t>
        <a:bodyPr/>
        <a:lstStyle/>
        <a:p>
          <a:endParaRPr lang="en-US" sz="2000">
            <a:latin typeface="+mn-lt"/>
          </a:endParaRPr>
        </a:p>
      </dgm:t>
    </dgm:pt>
    <dgm:pt modelId="{DE46019D-95E0-4008-A737-BB706E0B6C3F}">
      <dgm:prSet custT="1"/>
      <dgm:spPr/>
      <dgm:t>
        <a:bodyPr/>
        <a:lstStyle/>
        <a:p>
          <a:r>
            <a:rPr lang="en-US" sz="2000">
              <a:latin typeface="+mn-lt"/>
            </a:rPr>
            <a:t>Reluctant to provide references or permission to contact</a:t>
          </a:r>
          <a:endParaRPr lang="en-US" sz="2000" dirty="0">
            <a:latin typeface="+mn-lt"/>
          </a:endParaRPr>
        </a:p>
      </dgm:t>
    </dgm:pt>
    <dgm:pt modelId="{313EACF0-39D2-4E7E-A09B-7A2C360B20A3}" type="parTrans" cxnId="{89C650E8-2B95-4A3B-A86F-B4941CFC703B}">
      <dgm:prSet/>
      <dgm:spPr/>
      <dgm:t>
        <a:bodyPr/>
        <a:lstStyle/>
        <a:p>
          <a:endParaRPr lang="en-US" sz="2000">
            <a:latin typeface="+mn-lt"/>
          </a:endParaRPr>
        </a:p>
      </dgm:t>
    </dgm:pt>
    <dgm:pt modelId="{9E9B3738-8486-4867-AC57-5206F4EB9A2F}" type="sibTrans" cxnId="{89C650E8-2B95-4A3B-A86F-B4941CFC703B}">
      <dgm:prSet/>
      <dgm:spPr/>
      <dgm:t>
        <a:bodyPr/>
        <a:lstStyle/>
        <a:p>
          <a:endParaRPr lang="en-US" sz="2000">
            <a:latin typeface="+mn-lt"/>
          </a:endParaRPr>
        </a:p>
      </dgm:t>
    </dgm:pt>
    <dgm:pt modelId="{6718D460-11B2-4A2D-80BC-6E9632588845}">
      <dgm:prSet custT="1"/>
      <dgm:spPr/>
      <dgm:t>
        <a:bodyPr/>
        <a:lstStyle/>
        <a:p>
          <a:r>
            <a:rPr lang="en-US" sz="2000" dirty="0">
              <a:latin typeface="+mn-lt"/>
            </a:rPr>
            <a:t>History of voluntary or involuntary relinquishment of licensure or medical staff membership</a:t>
          </a:r>
        </a:p>
      </dgm:t>
    </dgm:pt>
    <dgm:pt modelId="{C0462588-1F51-469A-B1E8-62CC9C67E2F6}" type="parTrans" cxnId="{8C1A90B2-0D60-4579-B9D9-CA780727ED93}">
      <dgm:prSet/>
      <dgm:spPr/>
      <dgm:t>
        <a:bodyPr/>
        <a:lstStyle/>
        <a:p>
          <a:endParaRPr lang="en-US" sz="2000">
            <a:latin typeface="+mn-lt"/>
          </a:endParaRPr>
        </a:p>
      </dgm:t>
    </dgm:pt>
    <dgm:pt modelId="{D551512A-E6A8-4FBC-B6A8-5355037FC958}" type="sibTrans" cxnId="{8C1A90B2-0D60-4579-B9D9-CA780727ED93}">
      <dgm:prSet/>
      <dgm:spPr/>
      <dgm:t>
        <a:bodyPr/>
        <a:lstStyle/>
        <a:p>
          <a:endParaRPr lang="en-US" sz="2000">
            <a:latin typeface="+mn-lt"/>
          </a:endParaRPr>
        </a:p>
      </dgm:t>
    </dgm:pt>
    <dgm:pt modelId="{B81B74BB-249E-4B94-A38A-2B88C8CAFB61}">
      <dgm:prSet custT="1"/>
      <dgm:spPr/>
      <dgm:t>
        <a:bodyPr/>
        <a:lstStyle/>
        <a:p>
          <a:r>
            <a:rPr lang="en-US" sz="2000">
              <a:latin typeface="+mn-lt"/>
            </a:rPr>
            <a:t>History of limitation, reduction, or loss of clinical privileges</a:t>
          </a:r>
          <a:endParaRPr lang="en-US" sz="2000" dirty="0">
            <a:latin typeface="+mn-lt"/>
          </a:endParaRPr>
        </a:p>
      </dgm:t>
    </dgm:pt>
    <dgm:pt modelId="{B06FDB4B-A294-4147-836C-A4F3CCBC0DC3}" type="parTrans" cxnId="{A277EBFE-B04C-42A8-88A0-2006384055F7}">
      <dgm:prSet/>
      <dgm:spPr/>
      <dgm:t>
        <a:bodyPr/>
        <a:lstStyle/>
        <a:p>
          <a:endParaRPr lang="en-US" sz="2000">
            <a:latin typeface="+mn-lt"/>
          </a:endParaRPr>
        </a:p>
      </dgm:t>
    </dgm:pt>
    <dgm:pt modelId="{A0FEAC93-0784-437E-99FD-E264A3DBFBF4}" type="sibTrans" cxnId="{A277EBFE-B04C-42A8-88A0-2006384055F7}">
      <dgm:prSet/>
      <dgm:spPr/>
      <dgm:t>
        <a:bodyPr/>
        <a:lstStyle/>
        <a:p>
          <a:endParaRPr lang="en-US" sz="2000">
            <a:latin typeface="+mn-lt"/>
          </a:endParaRPr>
        </a:p>
      </dgm:t>
    </dgm:pt>
    <dgm:pt modelId="{AB2618A9-E654-4F6E-9519-EBB3AD7BED8F}">
      <dgm:prSet custT="1"/>
      <dgm:spPr/>
      <dgm:t>
        <a:bodyPr/>
        <a:lstStyle/>
        <a:p>
          <a:r>
            <a:rPr lang="en-US" sz="2000">
              <a:latin typeface="+mn-lt"/>
            </a:rPr>
            <a:t>Excessive claims resulting in final judgments against them</a:t>
          </a:r>
          <a:endParaRPr lang="en-US" sz="2000" dirty="0">
            <a:latin typeface="+mn-lt"/>
          </a:endParaRPr>
        </a:p>
      </dgm:t>
    </dgm:pt>
    <dgm:pt modelId="{9D70E6A5-13BE-4E17-A5CC-C8D64DC8C9C0}" type="parTrans" cxnId="{DF397564-338E-41F6-9B6B-11BE2861AC83}">
      <dgm:prSet/>
      <dgm:spPr/>
      <dgm:t>
        <a:bodyPr/>
        <a:lstStyle/>
        <a:p>
          <a:endParaRPr lang="en-US" sz="2000">
            <a:latin typeface="+mn-lt"/>
          </a:endParaRPr>
        </a:p>
      </dgm:t>
    </dgm:pt>
    <dgm:pt modelId="{E48D7397-F9C1-4A28-8986-E0A21A691D97}" type="sibTrans" cxnId="{DF397564-338E-41F6-9B6B-11BE2861AC83}">
      <dgm:prSet/>
      <dgm:spPr/>
      <dgm:t>
        <a:bodyPr/>
        <a:lstStyle/>
        <a:p>
          <a:endParaRPr lang="en-US" sz="2000">
            <a:latin typeface="+mn-lt"/>
          </a:endParaRPr>
        </a:p>
      </dgm:t>
    </dgm:pt>
    <dgm:pt modelId="{EC05D975-DDD8-4B92-A0EF-F860863B9E07}">
      <dgm:prSet custT="1"/>
      <dgm:spPr/>
      <dgm:t>
        <a:bodyPr/>
        <a:lstStyle/>
        <a:p>
          <a:r>
            <a:rPr lang="en-US" sz="2000">
              <a:latin typeface="+mn-lt"/>
            </a:rPr>
            <a:t>History of investigations or disciplinary actions </a:t>
          </a:r>
          <a:endParaRPr lang="en-US" sz="2000" dirty="0">
            <a:latin typeface="+mn-lt"/>
          </a:endParaRPr>
        </a:p>
      </dgm:t>
    </dgm:pt>
    <dgm:pt modelId="{7BDEA1DD-9738-413C-A039-4B0E5718D28D}" type="parTrans" cxnId="{9C1F5AB1-39BD-4836-B966-02C63C16E0FA}">
      <dgm:prSet/>
      <dgm:spPr/>
      <dgm:t>
        <a:bodyPr/>
        <a:lstStyle/>
        <a:p>
          <a:endParaRPr lang="en-US" sz="2000">
            <a:latin typeface="+mn-lt"/>
          </a:endParaRPr>
        </a:p>
      </dgm:t>
    </dgm:pt>
    <dgm:pt modelId="{12811ACE-BC89-49BB-9358-F3656FF8F759}" type="sibTrans" cxnId="{9C1F5AB1-39BD-4836-B966-02C63C16E0FA}">
      <dgm:prSet/>
      <dgm:spPr/>
      <dgm:t>
        <a:bodyPr/>
        <a:lstStyle/>
        <a:p>
          <a:endParaRPr lang="en-US" sz="2000">
            <a:latin typeface="+mn-lt"/>
          </a:endParaRPr>
        </a:p>
      </dgm:t>
    </dgm:pt>
    <dgm:pt modelId="{AA0E487F-6B9D-4762-88A0-CA31BDDE7DC1}">
      <dgm:prSet custT="1"/>
      <dgm:spPr/>
      <dgm:t>
        <a:bodyPr/>
        <a:lstStyle/>
        <a:p>
          <a:r>
            <a:rPr lang="en-US" sz="2000">
              <a:latin typeface="+mn-lt"/>
            </a:rPr>
            <a:t>Poor performance evaluations</a:t>
          </a:r>
          <a:endParaRPr lang="en-US" sz="2000" dirty="0">
            <a:latin typeface="+mn-lt"/>
          </a:endParaRPr>
        </a:p>
      </dgm:t>
    </dgm:pt>
    <dgm:pt modelId="{DF0CB805-11CB-4CCA-AD3D-F58DCA6435F4}" type="parTrans" cxnId="{BA017E5C-234F-453F-9E01-0A1210764823}">
      <dgm:prSet/>
      <dgm:spPr/>
      <dgm:t>
        <a:bodyPr/>
        <a:lstStyle/>
        <a:p>
          <a:endParaRPr lang="en-US" sz="2000">
            <a:latin typeface="+mn-lt"/>
          </a:endParaRPr>
        </a:p>
      </dgm:t>
    </dgm:pt>
    <dgm:pt modelId="{89097F55-5BAB-441F-937D-254D7EA138F1}" type="sibTrans" cxnId="{BA017E5C-234F-453F-9E01-0A1210764823}">
      <dgm:prSet/>
      <dgm:spPr/>
      <dgm:t>
        <a:bodyPr/>
        <a:lstStyle/>
        <a:p>
          <a:endParaRPr lang="en-US" sz="2000">
            <a:latin typeface="+mn-lt"/>
          </a:endParaRPr>
        </a:p>
      </dgm:t>
    </dgm:pt>
    <dgm:pt modelId="{3A454735-CACC-4ABC-96AA-6127EB8E0D06}" type="pres">
      <dgm:prSet presAssocID="{A3C58E4C-AFE2-4602-AE41-F24098C6381D}" presName="diagram" presStyleCnt="0">
        <dgm:presLayoutVars>
          <dgm:dir/>
          <dgm:resizeHandles val="exact"/>
        </dgm:presLayoutVars>
      </dgm:prSet>
      <dgm:spPr/>
      <dgm:t>
        <a:bodyPr/>
        <a:lstStyle/>
        <a:p>
          <a:endParaRPr lang="en-US"/>
        </a:p>
      </dgm:t>
    </dgm:pt>
    <dgm:pt modelId="{9A0DC18F-9870-4C06-9E41-98819C70BAD3}" type="pres">
      <dgm:prSet presAssocID="{DFC05C79-9C73-4EDA-8E2D-91F90D4956E2}" presName="node" presStyleLbl="node1" presStyleIdx="0" presStyleCnt="8" custLinFactNeighborY="-18">
        <dgm:presLayoutVars>
          <dgm:bulletEnabled val="1"/>
        </dgm:presLayoutVars>
      </dgm:prSet>
      <dgm:spPr/>
      <dgm:t>
        <a:bodyPr/>
        <a:lstStyle/>
        <a:p>
          <a:endParaRPr lang="en-US"/>
        </a:p>
      </dgm:t>
    </dgm:pt>
    <dgm:pt modelId="{258BB70C-35CB-4CF2-8EFC-4F477F49BFE5}" type="pres">
      <dgm:prSet presAssocID="{71C5B50A-B11B-456F-9EC6-422FC07D8DE9}" presName="sibTrans" presStyleCnt="0"/>
      <dgm:spPr/>
    </dgm:pt>
    <dgm:pt modelId="{87207981-B8B6-49FA-9B0F-6C06FB392465}" type="pres">
      <dgm:prSet presAssocID="{44B1074D-0DEF-4444-93EE-9C273F9EFC8A}" presName="node" presStyleLbl="node1" presStyleIdx="1" presStyleCnt="8">
        <dgm:presLayoutVars>
          <dgm:bulletEnabled val="1"/>
        </dgm:presLayoutVars>
      </dgm:prSet>
      <dgm:spPr/>
      <dgm:t>
        <a:bodyPr/>
        <a:lstStyle/>
        <a:p>
          <a:endParaRPr lang="en-US"/>
        </a:p>
      </dgm:t>
    </dgm:pt>
    <dgm:pt modelId="{C8E143ED-5E2D-4B6E-8B11-7DD4B2F1C586}" type="pres">
      <dgm:prSet presAssocID="{E0C49D8B-F1A6-4B69-9636-6E1CB55BB12F}" presName="sibTrans" presStyleCnt="0"/>
      <dgm:spPr/>
    </dgm:pt>
    <dgm:pt modelId="{84DFA13B-E41E-4299-B1D5-BD0FAEECD4FF}" type="pres">
      <dgm:prSet presAssocID="{DE46019D-95E0-4008-A737-BB706E0B6C3F}" presName="node" presStyleLbl="node1" presStyleIdx="2" presStyleCnt="8">
        <dgm:presLayoutVars>
          <dgm:bulletEnabled val="1"/>
        </dgm:presLayoutVars>
      </dgm:prSet>
      <dgm:spPr/>
      <dgm:t>
        <a:bodyPr/>
        <a:lstStyle/>
        <a:p>
          <a:endParaRPr lang="en-US"/>
        </a:p>
      </dgm:t>
    </dgm:pt>
    <dgm:pt modelId="{7AD442AC-CEDF-4A45-9472-1710864C3773}" type="pres">
      <dgm:prSet presAssocID="{9E9B3738-8486-4867-AC57-5206F4EB9A2F}" presName="sibTrans" presStyleCnt="0"/>
      <dgm:spPr/>
    </dgm:pt>
    <dgm:pt modelId="{B17CD757-193D-48A2-9203-3E74B41E79FD}" type="pres">
      <dgm:prSet presAssocID="{6718D460-11B2-4A2D-80BC-6E9632588845}" presName="node" presStyleLbl="node1" presStyleIdx="3" presStyleCnt="8">
        <dgm:presLayoutVars>
          <dgm:bulletEnabled val="1"/>
        </dgm:presLayoutVars>
      </dgm:prSet>
      <dgm:spPr/>
      <dgm:t>
        <a:bodyPr/>
        <a:lstStyle/>
        <a:p>
          <a:endParaRPr lang="en-US"/>
        </a:p>
      </dgm:t>
    </dgm:pt>
    <dgm:pt modelId="{0556D814-8D10-4AF5-B23D-86D06420A609}" type="pres">
      <dgm:prSet presAssocID="{D551512A-E6A8-4FBC-B6A8-5355037FC958}" presName="sibTrans" presStyleCnt="0"/>
      <dgm:spPr/>
    </dgm:pt>
    <dgm:pt modelId="{24D5877E-4356-4CFA-BC65-783C6C83C63E}" type="pres">
      <dgm:prSet presAssocID="{B81B74BB-249E-4B94-A38A-2B88C8CAFB61}" presName="node" presStyleLbl="node1" presStyleIdx="4" presStyleCnt="8">
        <dgm:presLayoutVars>
          <dgm:bulletEnabled val="1"/>
        </dgm:presLayoutVars>
      </dgm:prSet>
      <dgm:spPr/>
      <dgm:t>
        <a:bodyPr/>
        <a:lstStyle/>
        <a:p>
          <a:endParaRPr lang="en-US"/>
        </a:p>
      </dgm:t>
    </dgm:pt>
    <dgm:pt modelId="{38A99997-31BD-4FBE-8D3F-67B97C982680}" type="pres">
      <dgm:prSet presAssocID="{A0FEAC93-0784-437E-99FD-E264A3DBFBF4}" presName="sibTrans" presStyleCnt="0"/>
      <dgm:spPr/>
    </dgm:pt>
    <dgm:pt modelId="{1357E0F1-973A-4F61-9B5D-A87469EF5856}" type="pres">
      <dgm:prSet presAssocID="{AB2618A9-E654-4F6E-9519-EBB3AD7BED8F}" presName="node" presStyleLbl="node1" presStyleIdx="5" presStyleCnt="8">
        <dgm:presLayoutVars>
          <dgm:bulletEnabled val="1"/>
        </dgm:presLayoutVars>
      </dgm:prSet>
      <dgm:spPr/>
      <dgm:t>
        <a:bodyPr/>
        <a:lstStyle/>
        <a:p>
          <a:endParaRPr lang="en-US"/>
        </a:p>
      </dgm:t>
    </dgm:pt>
    <dgm:pt modelId="{672FE235-78D0-45AE-9047-9D70991CDA16}" type="pres">
      <dgm:prSet presAssocID="{E48D7397-F9C1-4A28-8986-E0A21A691D97}" presName="sibTrans" presStyleCnt="0"/>
      <dgm:spPr/>
    </dgm:pt>
    <dgm:pt modelId="{0ADA2ACF-41C5-40E0-BF28-65C6BD3447F6}" type="pres">
      <dgm:prSet presAssocID="{EC05D975-DDD8-4B92-A0EF-F860863B9E07}" presName="node" presStyleLbl="node1" presStyleIdx="6" presStyleCnt="8">
        <dgm:presLayoutVars>
          <dgm:bulletEnabled val="1"/>
        </dgm:presLayoutVars>
      </dgm:prSet>
      <dgm:spPr/>
      <dgm:t>
        <a:bodyPr/>
        <a:lstStyle/>
        <a:p>
          <a:endParaRPr lang="en-US"/>
        </a:p>
      </dgm:t>
    </dgm:pt>
    <dgm:pt modelId="{0671C1C3-4BAA-4B9C-8136-378A87C499B0}" type="pres">
      <dgm:prSet presAssocID="{12811ACE-BC89-49BB-9358-F3656FF8F759}" presName="sibTrans" presStyleCnt="0"/>
      <dgm:spPr/>
    </dgm:pt>
    <dgm:pt modelId="{F0EB8099-B4EC-4882-8964-C8CAC114956F}" type="pres">
      <dgm:prSet presAssocID="{AA0E487F-6B9D-4762-88A0-CA31BDDE7DC1}" presName="node" presStyleLbl="node1" presStyleIdx="7" presStyleCnt="8">
        <dgm:presLayoutVars>
          <dgm:bulletEnabled val="1"/>
        </dgm:presLayoutVars>
      </dgm:prSet>
      <dgm:spPr/>
      <dgm:t>
        <a:bodyPr/>
        <a:lstStyle/>
        <a:p>
          <a:endParaRPr lang="en-US"/>
        </a:p>
      </dgm:t>
    </dgm:pt>
  </dgm:ptLst>
  <dgm:cxnLst>
    <dgm:cxn modelId="{862FD4EC-382F-4E1B-811E-CE569183A85B}" type="presOf" srcId="{A3C58E4C-AFE2-4602-AE41-F24098C6381D}" destId="{3A454735-CACC-4ABC-96AA-6127EB8E0D06}" srcOrd="0" destOrd="0" presId="urn:microsoft.com/office/officeart/2005/8/layout/default"/>
    <dgm:cxn modelId="{FD947936-6EFB-4D09-B535-147BF2C0AA4D}" type="presOf" srcId="{AA0E487F-6B9D-4762-88A0-CA31BDDE7DC1}" destId="{F0EB8099-B4EC-4882-8964-C8CAC114956F}" srcOrd="0" destOrd="0" presId="urn:microsoft.com/office/officeart/2005/8/layout/default"/>
    <dgm:cxn modelId="{F8E249A6-1FF0-4B67-A267-682945ACFD9A}" srcId="{A3C58E4C-AFE2-4602-AE41-F24098C6381D}" destId="{44B1074D-0DEF-4444-93EE-9C273F9EFC8A}" srcOrd="1" destOrd="0" parTransId="{22962446-5F49-41A2-B498-F5460A7D83E3}" sibTransId="{E0C49D8B-F1A6-4B69-9636-6E1CB55BB12F}"/>
    <dgm:cxn modelId="{059BB206-3EFC-4839-B116-8737D648128A}" type="presOf" srcId="{DFC05C79-9C73-4EDA-8E2D-91F90D4956E2}" destId="{9A0DC18F-9870-4C06-9E41-98819C70BAD3}" srcOrd="0" destOrd="0" presId="urn:microsoft.com/office/officeart/2005/8/layout/default"/>
    <dgm:cxn modelId="{7A353A4F-5F90-4893-9040-C30C9B59372B}" type="presOf" srcId="{DE46019D-95E0-4008-A737-BB706E0B6C3F}" destId="{84DFA13B-E41E-4299-B1D5-BD0FAEECD4FF}" srcOrd="0" destOrd="0" presId="urn:microsoft.com/office/officeart/2005/8/layout/default"/>
    <dgm:cxn modelId="{8DE889C1-41D3-47F3-AA08-5992A0A0FD29}" type="presOf" srcId="{44B1074D-0DEF-4444-93EE-9C273F9EFC8A}" destId="{87207981-B8B6-49FA-9B0F-6C06FB392465}" srcOrd="0" destOrd="0" presId="urn:microsoft.com/office/officeart/2005/8/layout/default"/>
    <dgm:cxn modelId="{B02B09F2-80B8-45AC-B45B-4CB81D01979C}" type="presOf" srcId="{6718D460-11B2-4A2D-80BC-6E9632588845}" destId="{B17CD757-193D-48A2-9203-3E74B41E79FD}" srcOrd="0" destOrd="0" presId="urn:microsoft.com/office/officeart/2005/8/layout/default"/>
    <dgm:cxn modelId="{9900B5EA-90D3-46F8-935E-F84CDCB76CAB}" type="presOf" srcId="{AB2618A9-E654-4F6E-9519-EBB3AD7BED8F}" destId="{1357E0F1-973A-4F61-9B5D-A87469EF5856}" srcOrd="0" destOrd="0" presId="urn:microsoft.com/office/officeart/2005/8/layout/default"/>
    <dgm:cxn modelId="{89C650E8-2B95-4A3B-A86F-B4941CFC703B}" srcId="{A3C58E4C-AFE2-4602-AE41-F24098C6381D}" destId="{DE46019D-95E0-4008-A737-BB706E0B6C3F}" srcOrd="2" destOrd="0" parTransId="{313EACF0-39D2-4E7E-A09B-7A2C360B20A3}" sibTransId="{9E9B3738-8486-4867-AC57-5206F4EB9A2F}"/>
    <dgm:cxn modelId="{3B32E8F7-97EB-4844-B71E-7DCAD7B321CC}" type="presOf" srcId="{EC05D975-DDD8-4B92-A0EF-F860863B9E07}" destId="{0ADA2ACF-41C5-40E0-BF28-65C6BD3447F6}" srcOrd="0" destOrd="0" presId="urn:microsoft.com/office/officeart/2005/8/layout/default"/>
    <dgm:cxn modelId="{DF397564-338E-41F6-9B6B-11BE2861AC83}" srcId="{A3C58E4C-AFE2-4602-AE41-F24098C6381D}" destId="{AB2618A9-E654-4F6E-9519-EBB3AD7BED8F}" srcOrd="5" destOrd="0" parTransId="{9D70E6A5-13BE-4E17-A5CC-C8D64DC8C9C0}" sibTransId="{E48D7397-F9C1-4A28-8986-E0A21A691D97}"/>
    <dgm:cxn modelId="{BA017E5C-234F-453F-9E01-0A1210764823}" srcId="{A3C58E4C-AFE2-4602-AE41-F24098C6381D}" destId="{AA0E487F-6B9D-4762-88A0-CA31BDDE7DC1}" srcOrd="7" destOrd="0" parTransId="{DF0CB805-11CB-4CCA-AD3D-F58DCA6435F4}" sibTransId="{89097F55-5BAB-441F-937D-254D7EA138F1}"/>
    <dgm:cxn modelId="{9C1F5AB1-39BD-4836-B966-02C63C16E0FA}" srcId="{A3C58E4C-AFE2-4602-AE41-F24098C6381D}" destId="{EC05D975-DDD8-4B92-A0EF-F860863B9E07}" srcOrd="6" destOrd="0" parTransId="{7BDEA1DD-9738-413C-A039-4B0E5718D28D}" sibTransId="{12811ACE-BC89-49BB-9358-F3656FF8F759}"/>
    <dgm:cxn modelId="{8C1A90B2-0D60-4579-B9D9-CA780727ED93}" srcId="{A3C58E4C-AFE2-4602-AE41-F24098C6381D}" destId="{6718D460-11B2-4A2D-80BC-6E9632588845}" srcOrd="3" destOrd="0" parTransId="{C0462588-1F51-469A-B1E8-62CC9C67E2F6}" sibTransId="{D551512A-E6A8-4FBC-B6A8-5355037FC958}"/>
    <dgm:cxn modelId="{765F6573-4D8A-4A2F-B0E8-98C1101847B2}" srcId="{A3C58E4C-AFE2-4602-AE41-F24098C6381D}" destId="{DFC05C79-9C73-4EDA-8E2D-91F90D4956E2}" srcOrd="0" destOrd="0" parTransId="{25812053-B6B0-43E3-8147-FED5841EF3DA}" sibTransId="{71C5B50A-B11B-456F-9EC6-422FC07D8DE9}"/>
    <dgm:cxn modelId="{EC2BB739-9890-4B8A-B3F6-367A67E02B7A}" type="presOf" srcId="{B81B74BB-249E-4B94-A38A-2B88C8CAFB61}" destId="{24D5877E-4356-4CFA-BC65-783C6C83C63E}" srcOrd="0" destOrd="0" presId="urn:microsoft.com/office/officeart/2005/8/layout/default"/>
    <dgm:cxn modelId="{A277EBFE-B04C-42A8-88A0-2006384055F7}" srcId="{A3C58E4C-AFE2-4602-AE41-F24098C6381D}" destId="{B81B74BB-249E-4B94-A38A-2B88C8CAFB61}" srcOrd="4" destOrd="0" parTransId="{B06FDB4B-A294-4147-836C-A4F3CCBC0DC3}" sibTransId="{A0FEAC93-0784-437E-99FD-E264A3DBFBF4}"/>
    <dgm:cxn modelId="{4EC56630-FA65-493B-B860-F2BE13BD4145}" type="presParOf" srcId="{3A454735-CACC-4ABC-96AA-6127EB8E0D06}" destId="{9A0DC18F-9870-4C06-9E41-98819C70BAD3}" srcOrd="0" destOrd="0" presId="urn:microsoft.com/office/officeart/2005/8/layout/default"/>
    <dgm:cxn modelId="{4989B1F4-4D38-437A-8673-6881C45FEE30}" type="presParOf" srcId="{3A454735-CACC-4ABC-96AA-6127EB8E0D06}" destId="{258BB70C-35CB-4CF2-8EFC-4F477F49BFE5}" srcOrd="1" destOrd="0" presId="urn:microsoft.com/office/officeart/2005/8/layout/default"/>
    <dgm:cxn modelId="{C246D375-B9F4-45AF-9745-30F1C1BB7EE4}" type="presParOf" srcId="{3A454735-CACC-4ABC-96AA-6127EB8E0D06}" destId="{87207981-B8B6-49FA-9B0F-6C06FB392465}" srcOrd="2" destOrd="0" presId="urn:microsoft.com/office/officeart/2005/8/layout/default"/>
    <dgm:cxn modelId="{6F8D44D8-6F56-439E-87EB-9675A9B0BB3A}" type="presParOf" srcId="{3A454735-CACC-4ABC-96AA-6127EB8E0D06}" destId="{C8E143ED-5E2D-4B6E-8B11-7DD4B2F1C586}" srcOrd="3" destOrd="0" presId="urn:microsoft.com/office/officeart/2005/8/layout/default"/>
    <dgm:cxn modelId="{609F6EAE-1089-42E7-9944-973E491F8C5F}" type="presParOf" srcId="{3A454735-CACC-4ABC-96AA-6127EB8E0D06}" destId="{84DFA13B-E41E-4299-B1D5-BD0FAEECD4FF}" srcOrd="4" destOrd="0" presId="urn:microsoft.com/office/officeart/2005/8/layout/default"/>
    <dgm:cxn modelId="{8CB6C9FC-7C34-4329-BE8E-8A4BE4BE9EC0}" type="presParOf" srcId="{3A454735-CACC-4ABC-96AA-6127EB8E0D06}" destId="{7AD442AC-CEDF-4A45-9472-1710864C3773}" srcOrd="5" destOrd="0" presId="urn:microsoft.com/office/officeart/2005/8/layout/default"/>
    <dgm:cxn modelId="{9EBBE31D-198F-40F2-A20F-6A2180A44700}" type="presParOf" srcId="{3A454735-CACC-4ABC-96AA-6127EB8E0D06}" destId="{B17CD757-193D-48A2-9203-3E74B41E79FD}" srcOrd="6" destOrd="0" presId="urn:microsoft.com/office/officeart/2005/8/layout/default"/>
    <dgm:cxn modelId="{6F2EA44F-E356-4117-A214-487A07C2406F}" type="presParOf" srcId="{3A454735-CACC-4ABC-96AA-6127EB8E0D06}" destId="{0556D814-8D10-4AF5-B23D-86D06420A609}" srcOrd="7" destOrd="0" presId="urn:microsoft.com/office/officeart/2005/8/layout/default"/>
    <dgm:cxn modelId="{78DACB03-01A0-4A7E-9B2D-EED4D70426F6}" type="presParOf" srcId="{3A454735-CACC-4ABC-96AA-6127EB8E0D06}" destId="{24D5877E-4356-4CFA-BC65-783C6C83C63E}" srcOrd="8" destOrd="0" presId="urn:microsoft.com/office/officeart/2005/8/layout/default"/>
    <dgm:cxn modelId="{B399ED03-5B69-48FD-8308-55C964574A45}" type="presParOf" srcId="{3A454735-CACC-4ABC-96AA-6127EB8E0D06}" destId="{38A99997-31BD-4FBE-8D3F-67B97C982680}" srcOrd="9" destOrd="0" presId="urn:microsoft.com/office/officeart/2005/8/layout/default"/>
    <dgm:cxn modelId="{EEBA9798-5A6A-4B14-8396-8FFEFE3BD7FD}" type="presParOf" srcId="{3A454735-CACC-4ABC-96AA-6127EB8E0D06}" destId="{1357E0F1-973A-4F61-9B5D-A87469EF5856}" srcOrd="10" destOrd="0" presId="urn:microsoft.com/office/officeart/2005/8/layout/default"/>
    <dgm:cxn modelId="{F41725AF-BDC3-469B-B72F-BEDF5ABB32F7}" type="presParOf" srcId="{3A454735-CACC-4ABC-96AA-6127EB8E0D06}" destId="{672FE235-78D0-45AE-9047-9D70991CDA16}" srcOrd="11" destOrd="0" presId="urn:microsoft.com/office/officeart/2005/8/layout/default"/>
    <dgm:cxn modelId="{06F676BA-8258-4C5D-83F4-549A7643CB12}" type="presParOf" srcId="{3A454735-CACC-4ABC-96AA-6127EB8E0D06}" destId="{0ADA2ACF-41C5-40E0-BF28-65C6BD3447F6}" srcOrd="12" destOrd="0" presId="urn:microsoft.com/office/officeart/2005/8/layout/default"/>
    <dgm:cxn modelId="{86C3A7BF-8CDE-43C9-89DF-30D436F2AA68}" type="presParOf" srcId="{3A454735-CACC-4ABC-96AA-6127EB8E0D06}" destId="{0671C1C3-4BAA-4B9C-8136-378A87C499B0}" srcOrd="13" destOrd="0" presId="urn:microsoft.com/office/officeart/2005/8/layout/default"/>
    <dgm:cxn modelId="{4FCA756B-A70D-4750-9555-C46049E391A4}" type="presParOf" srcId="{3A454735-CACC-4ABC-96AA-6127EB8E0D06}" destId="{F0EB8099-B4EC-4882-8964-C8CAC114956F}" srcOrd="14"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22B2FC5-D982-43F7-8DE1-A2877D518E0F}" type="doc">
      <dgm:prSet loTypeId="urn:microsoft.com/office/officeart/2005/8/layout/chevron2" loCatId="list" qsTypeId="urn:microsoft.com/office/officeart/2005/8/quickstyle/simple1" qsCatId="simple" csTypeId="urn:microsoft.com/office/officeart/2005/8/colors/colorful2" csCatId="colorful" phldr="1"/>
      <dgm:spPr/>
      <dgm:t>
        <a:bodyPr/>
        <a:lstStyle/>
        <a:p>
          <a:endParaRPr lang="en-US"/>
        </a:p>
      </dgm:t>
    </dgm:pt>
    <dgm:pt modelId="{C50B2C2D-DB92-4D17-BD9C-24D17F33F79A}">
      <dgm:prSet phldrT="[Text]" custT="1"/>
      <dgm:spPr/>
      <dgm:t>
        <a:bodyPr/>
        <a:lstStyle/>
        <a:p>
          <a:r>
            <a:rPr lang="en-US" sz="2000" dirty="0"/>
            <a:t>Psychiatric conditions</a:t>
          </a:r>
        </a:p>
      </dgm:t>
    </dgm:pt>
    <dgm:pt modelId="{54CACB15-6CCE-4D57-86B1-4AC7B6336B1D}" type="parTrans" cxnId="{D9FCAC9E-8463-49AE-ABBC-0818EE01CA89}">
      <dgm:prSet/>
      <dgm:spPr/>
      <dgm:t>
        <a:bodyPr/>
        <a:lstStyle/>
        <a:p>
          <a:endParaRPr lang="en-US" sz="2000"/>
        </a:p>
      </dgm:t>
    </dgm:pt>
    <dgm:pt modelId="{6A3CD72A-9E6E-491B-A023-0A26DFC4E669}" type="sibTrans" cxnId="{D9FCAC9E-8463-49AE-ABBC-0818EE01CA89}">
      <dgm:prSet/>
      <dgm:spPr/>
      <dgm:t>
        <a:bodyPr/>
        <a:lstStyle/>
        <a:p>
          <a:endParaRPr lang="en-US" sz="2000"/>
        </a:p>
      </dgm:t>
    </dgm:pt>
    <dgm:pt modelId="{91587C1C-15A9-458E-8F45-130058594F85}">
      <dgm:prSet custT="1"/>
      <dgm:spPr/>
      <dgm:t>
        <a:bodyPr/>
        <a:lstStyle/>
        <a:p>
          <a:r>
            <a:rPr lang="en-US" sz="2000" dirty="0">
              <a:solidFill>
                <a:schemeClr val="tx2"/>
              </a:solidFill>
            </a:rPr>
            <a:t>Depression</a:t>
          </a:r>
        </a:p>
      </dgm:t>
    </dgm:pt>
    <dgm:pt modelId="{0947BE41-6AC6-44EB-9852-D268D5D1C56C}" type="parTrans" cxnId="{DFF71614-8467-4668-B4F9-5E3A09ABC77A}">
      <dgm:prSet/>
      <dgm:spPr/>
      <dgm:t>
        <a:bodyPr/>
        <a:lstStyle/>
        <a:p>
          <a:endParaRPr lang="en-US" sz="2000"/>
        </a:p>
      </dgm:t>
    </dgm:pt>
    <dgm:pt modelId="{E0EE483B-2AC7-488E-862B-7F0A471B3989}" type="sibTrans" cxnId="{DFF71614-8467-4668-B4F9-5E3A09ABC77A}">
      <dgm:prSet/>
      <dgm:spPr/>
      <dgm:t>
        <a:bodyPr/>
        <a:lstStyle/>
        <a:p>
          <a:endParaRPr lang="en-US" sz="2000"/>
        </a:p>
      </dgm:t>
    </dgm:pt>
    <dgm:pt modelId="{BF6EFEC2-9F3A-43BB-B2C3-42AFD3406BA2}">
      <dgm:prSet custT="1"/>
      <dgm:spPr/>
      <dgm:t>
        <a:bodyPr/>
        <a:lstStyle/>
        <a:p>
          <a:r>
            <a:rPr lang="en-US" sz="2000" dirty="0">
              <a:solidFill>
                <a:schemeClr val="tx2"/>
              </a:solidFill>
            </a:rPr>
            <a:t>Bipolar disorders</a:t>
          </a:r>
        </a:p>
      </dgm:t>
    </dgm:pt>
    <dgm:pt modelId="{05CE8462-EE4A-433B-8DAB-B486A89C2FF6}" type="parTrans" cxnId="{828827E5-0EEB-49A3-8E41-DF6C51DF9956}">
      <dgm:prSet/>
      <dgm:spPr/>
      <dgm:t>
        <a:bodyPr/>
        <a:lstStyle/>
        <a:p>
          <a:endParaRPr lang="en-US" sz="2000"/>
        </a:p>
      </dgm:t>
    </dgm:pt>
    <dgm:pt modelId="{C7BA80E0-8431-4C31-BC52-024D5278EBDD}" type="sibTrans" cxnId="{828827E5-0EEB-49A3-8E41-DF6C51DF9956}">
      <dgm:prSet/>
      <dgm:spPr/>
      <dgm:t>
        <a:bodyPr/>
        <a:lstStyle/>
        <a:p>
          <a:endParaRPr lang="en-US" sz="2000"/>
        </a:p>
      </dgm:t>
    </dgm:pt>
    <dgm:pt modelId="{62D0D28B-E41A-4904-8679-CD87B74FBD27}">
      <dgm:prSet custT="1"/>
      <dgm:spPr/>
      <dgm:t>
        <a:bodyPr/>
        <a:lstStyle/>
        <a:p>
          <a:r>
            <a:rPr lang="en-US" sz="2000" dirty="0"/>
            <a:t>Personality disorders</a:t>
          </a:r>
        </a:p>
      </dgm:t>
    </dgm:pt>
    <dgm:pt modelId="{CC619D81-57EE-47C2-A9A6-26F954CB3C53}" type="parTrans" cxnId="{1FFF910C-18DA-43F8-B6F5-ADAE722D186E}">
      <dgm:prSet/>
      <dgm:spPr/>
      <dgm:t>
        <a:bodyPr/>
        <a:lstStyle/>
        <a:p>
          <a:endParaRPr lang="en-US" sz="2000"/>
        </a:p>
      </dgm:t>
    </dgm:pt>
    <dgm:pt modelId="{FC99FA91-3996-4111-A156-D8CF76D3BA5C}" type="sibTrans" cxnId="{1FFF910C-18DA-43F8-B6F5-ADAE722D186E}">
      <dgm:prSet/>
      <dgm:spPr/>
      <dgm:t>
        <a:bodyPr/>
        <a:lstStyle/>
        <a:p>
          <a:endParaRPr lang="en-US" sz="2000"/>
        </a:p>
      </dgm:t>
    </dgm:pt>
    <dgm:pt modelId="{F88A4359-2936-4363-84D8-08FC1F32B97D}">
      <dgm:prSet custT="1"/>
      <dgm:spPr/>
      <dgm:t>
        <a:bodyPr/>
        <a:lstStyle/>
        <a:p>
          <a:r>
            <a:rPr lang="en-US" sz="2000" dirty="0">
              <a:solidFill>
                <a:schemeClr val="tx2"/>
              </a:solidFill>
            </a:rPr>
            <a:t>Narcissism</a:t>
          </a:r>
        </a:p>
      </dgm:t>
    </dgm:pt>
    <dgm:pt modelId="{7A99FEA5-963D-4514-AE20-33C185D794B6}" type="parTrans" cxnId="{88E24667-2DA8-40F4-9CA0-E08196FDF875}">
      <dgm:prSet/>
      <dgm:spPr/>
      <dgm:t>
        <a:bodyPr/>
        <a:lstStyle/>
        <a:p>
          <a:endParaRPr lang="en-US" sz="2000"/>
        </a:p>
      </dgm:t>
    </dgm:pt>
    <dgm:pt modelId="{0CD451A7-DFCA-4BEC-AF3D-41DD25C54C0F}" type="sibTrans" cxnId="{88E24667-2DA8-40F4-9CA0-E08196FDF875}">
      <dgm:prSet/>
      <dgm:spPr/>
      <dgm:t>
        <a:bodyPr/>
        <a:lstStyle/>
        <a:p>
          <a:endParaRPr lang="en-US" sz="2000"/>
        </a:p>
      </dgm:t>
    </dgm:pt>
    <dgm:pt modelId="{80B96AC7-9C7B-4906-80E7-1C4B29094AE0}">
      <dgm:prSet custT="1"/>
      <dgm:spPr/>
      <dgm:t>
        <a:bodyPr/>
        <a:lstStyle/>
        <a:p>
          <a:r>
            <a:rPr lang="en-US" sz="2000">
              <a:solidFill>
                <a:schemeClr val="tx2"/>
              </a:solidFill>
            </a:rPr>
            <a:t>Paranoia</a:t>
          </a:r>
          <a:endParaRPr lang="en-US" sz="2000" dirty="0">
            <a:solidFill>
              <a:schemeClr val="tx2"/>
            </a:solidFill>
          </a:endParaRPr>
        </a:p>
      </dgm:t>
    </dgm:pt>
    <dgm:pt modelId="{2C1256DB-BB8B-4C09-A78C-E63E1FCCD4F1}" type="parTrans" cxnId="{D321277D-1885-4779-850A-986947DAF1D9}">
      <dgm:prSet/>
      <dgm:spPr/>
      <dgm:t>
        <a:bodyPr/>
        <a:lstStyle/>
        <a:p>
          <a:endParaRPr lang="en-US" sz="2000"/>
        </a:p>
      </dgm:t>
    </dgm:pt>
    <dgm:pt modelId="{E54466E7-9818-4F1F-A584-E74EDE5122C8}" type="sibTrans" cxnId="{D321277D-1885-4779-850A-986947DAF1D9}">
      <dgm:prSet/>
      <dgm:spPr/>
      <dgm:t>
        <a:bodyPr/>
        <a:lstStyle/>
        <a:p>
          <a:endParaRPr lang="en-US" sz="2000"/>
        </a:p>
      </dgm:t>
    </dgm:pt>
    <dgm:pt modelId="{7DF7FF06-105C-432A-A511-F3D410787D86}">
      <dgm:prSet custT="1"/>
      <dgm:spPr/>
      <dgm:t>
        <a:bodyPr/>
        <a:lstStyle/>
        <a:p>
          <a:r>
            <a:rPr lang="en-US" sz="2000" dirty="0">
              <a:solidFill>
                <a:schemeClr val="tx2"/>
              </a:solidFill>
            </a:rPr>
            <a:t>Passive-aggressive personality disorder</a:t>
          </a:r>
        </a:p>
      </dgm:t>
    </dgm:pt>
    <dgm:pt modelId="{AFB0F049-9C2E-4B15-998A-422D78AA9F53}" type="parTrans" cxnId="{33A2E114-97F7-4BDC-8508-05DD722685EF}">
      <dgm:prSet/>
      <dgm:spPr/>
      <dgm:t>
        <a:bodyPr/>
        <a:lstStyle/>
        <a:p>
          <a:endParaRPr lang="en-US" sz="2000"/>
        </a:p>
      </dgm:t>
    </dgm:pt>
    <dgm:pt modelId="{C9EA3AE4-9EB3-4B4E-9B85-B6A077CE4FE3}" type="sibTrans" cxnId="{33A2E114-97F7-4BDC-8508-05DD722685EF}">
      <dgm:prSet/>
      <dgm:spPr/>
      <dgm:t>
        <a:bodyPr/>
        <a:lstStyle/>
        <a:p>
          <a:endParaRPr lang="en-US" sz="2000"/>
        </a:p>
      </dgm:t>
    </dgm:pt>
    <dgm:pt modelId="{7C12825D-105D-45FA-A60F-112FF957E62D}">
      <dgm:prSet custT="1"/>
      <dgm:spPr/>
      <dgm:t>
        <a:bodyPr/>
        <a:lstStyle/>
        <a:p>
          <a:r>
            <a:rPr lang="en-US" sz="2000" dirty="0">
              <a:solidFill>
                <a:schemeClr val="tx2"/>
              </a:solidFill>
            </a:rPr>
            <a:t>Borderline/mixed personality disorder</a:t>
          </a:r>
        </a:p>
      </dgm:t>
    </dgm:pt>
    <dgm:pt modelId="{8F766564-79A5-4320-B58E-C6FC69B4EF86}" type="parTrans" cxnId="{5FBABDD7-2369-4679-9430-F16E8811CC7B}">
      <dgm:prSet/>
      <dgm:spPr/>
      <dgm:t>
        <a:bodyPr/>
        <a:lstStyle/>
        <a:p>
          <a:endParaRPr lang="en-US" sz="2000"/>
        </a:p>
      </dgm:t>
    </dgm:pt>
    <dgm:pt modelId="{64B8AD8A-8FDB-4EAF-99F4-99C4FEA3ACF1}" type="sibTrans" cxnId="{5FBABDD7-2369-4679-9430-F16E8811CC7B}">
      <dgm:prSet/>
      <dgm:spPr/>
      <dgm:t>
        <a:bodyPr/>
        <a:lstStyle/>
        <a:p>
          <a:endParaRPr lang="en-US" sz="2000"/>
        </a:p>
      </dgm:t>
    </dgm:pt>
    <dgm:pt modelId="{3A117FCC-EB12-43B9-B6BD-32E6508210C8}">
      <dgm:prSet custT="1"/>
      <dgm:spPr/>
      <dgm:t>
        <a:bodyPr/>
        <a:lstStyle/>
        <a:p>
          <a:r>
            <a:rPr lang="en-US" sz="2000" dirty="0"/>
            <a:t>Occasional incident</a:t>
          </a:r>
        </a:p>
      </dgm:t>
    </dgm:pt>
    <dgm:pt modelId="{7970E842-6C44-4643-B982-FD619FB36F8B}" type="parTrans" cxnId="{85635D70-16B1-445B-A508-9F7EF9714DDB}">
      <dgm:prSet/>
      <dgm:spPr/>
      <dgm:t>
        <a:bodyPr/>
        <a:lstStyle/>
        <a:p>
          <a:endParaRPr lang="en-US" sz="2000"/>
        </a:p>
      </dgm:t>
    </dgm:pt>
    <dgm:pt modelId="{BB75F8F3-2E0A-4CD9-927B-EC769B717DD7}" type="sibTrans" cxnId="{85635D70-16B1-445B-A508-9F7EF9714DDB}">
      <dgm:prSet/>
      <dgm:spPr/>
      <dgm:t>
        <a:bodyPr/>
        <a:lstStyle/>
        <a:p>
          <a:endParaRPr lang="en-US" sz="2000"/>
        </a:p>
      </dgm:t>
    </dgm:pt>
    <dgm:pt modelId="{80105BB6-8756-4A03-A813-716D7694E9E4}">
      <dgm:prSet custT="1"/>
      <dgm:spPr/>
      <dgm:t>
        <a:bodyPr/>
        <a:lstStyle/>
        <a:p>
          <a:r>
            <a:rPr lang="en-US" sz="2000" dirty="0">
              <a:solidFill>
                <a:schemeClr val="tx2"/>
              </a:solidFill>
            </a:rPr>
            <a:t>Substance abuse</a:t>
          </a:r>
        </a:p>
      </dgm:t>
    </dgm:pt>
    <dgm:pt modelId="{8C4F6104-EFB7-412E-AA18-69A1B4F907E9}" type="parTrans" cxnId="{CA91BDB0-1347-4BA5-AA81-E030BFDDA113}">
      <dgm:prSet/>
      <dgm:spPr/>
      <dgm:t>
        <a:bodyPr/>
        <a:lstStyle/>
        <a:p>
          <a:endParaRPr lang="en-US" sz="2000"/>
        </a:p>
      </dgm:t>
    </dgm:pt>
    <dgm:pt modelId="{2031742B-A4F1-4DC1-92A4-EE38D2A4CC4A}" type="sibTrans" cxnId="{CA91BDB0-1347-4BA5-AA81-E030BFDDA113}">
      <dgm:prSet/>
      <dgm:spPr/>
      <dgm:t>
        <a:bodyPr/>
        <a:lstStyle/>
        <a:p>
          <a:endParaRPr lang="en-US" sz="2000"/>
        </a:p>
      </dgm:t>
    </dgm:pt>
    <dgm:pt modelId="{B61C781A-0297-40C4-8B1A-43F04904D4BC}" type="pres">
      <dgm:prSet presAssocID="{C22B2FC5-D982-43F7-8DE1-A2877D518E0F}" presName="linearFlow" presStyleCnt="0">
        <dgm:presLayoutVars>
          <dgm:dir/>
          <dgm:animLvl val="lvl"/>
          <dgm:resizeHandles val="exact"/>
        </dgm:presLayoutVars>
      </dgm:prSet>
      <dgm:spPr/>
      <dgm:t>
        <a:bodyPr/>
        <a:lstStyle/>
        <a:p>
          <a:endParaRPr lang="en-US"/>
        </a:p>
      </dgm:t>
    </dgm:pt>
    <dgm:pt modelId="{CD6A4E5F-8C27-480B-9829-8EE473759828}" type="pres">
      <dgm:prSet presAssocID="{C50B2C2D-DB92-4D17-BD9C-24D17F33F79A}" presName="composite" presStyleCnt="0"/>
      <dgm:spPr/>
    </dgm:pt>
    <dgm:pt modelId="{65FB8F85-01F6-45F7-A194-0594BC6E178A}" type="pres">
      <dgm:prSet presAssocID="{C50B2C2D-DB92-4D17-BD9C-24D17F33F79A}" presName="parentText" presStyleLbl="alignNode1" presStyleIdx="0" presStyleCnt="3">
        <dgm:presLayoutVars>
          <dgm:chMax val="1"/>
          <dgm:bulletEnabled val="1"/>
        </dgm:presLayoutVars>
      </dgm:prSet>
      <dgm:spPr/>
      <dgm:t>
        <a:bodyPr/>
        <a:lstStyle/>
        <a:p>
          <a:endParaRPr lang="en-US"/>
        </a:p>
      </dgm:t>
    </dgm:pt>
    <dgm:pt modelId="{6EE1CFD2-9F6A-4E5B-A214-6220A305C8B1}" type="pres">
      <dgm:prSet presAssocID="{C50B2C2D-DB92-4D17-BD9C-24D17F33F79A}" presName="descendantText" presStyleLbl="alignAcc1" presStyleIdx="0" presStyleCnt="3">
        <dgm:presLayoutVars>
          <dgm:bulletEnabled val="1"/>
        </dgm:presLayoutVars>
      </dgm:prSet>
      <dgm:spPr/>
      <dgm:t>
        <a:bodyPr/>
        <a:lstStyle/>
        <a:p>
          <a:endParaRPr lang="en-US"/>
        </a:p>
      </dgm:t>
    </dgm:pt>
    <dgm:pt modelId="{326DB51D-0515-4653-A108-A1FDE5041B35}" type="pres">
      <dgm:prSet presAssocID="{6A3CD72A-9E6E-491B-A023-0A26DFC4E669}" presName="sp" presStyleCnt="0"/>
      <dgm:spPr/>
    </dgm:pt>
    <dgm:pt modelId="{CCE4BA82-5916-4CA3-BD59-143648238D15}" type="pres">
      <dgm:prSet presAssocID="{62D0D28B-E41A-4904-8679-CD87B74FBD27}" presName="composite" presStyleCnt="0"/>
      <dgm:spPr/>
    </dgm:pt>
    <dgm:pt modelId="{46789A42-0A7E-48C4-AE3A-54AF3059A87E}" type="pres">
      <dgm:prSet presAssocID="{62D0D28B-E41A-4904-8679-CD87B74FBD27}" presName="parentText" presStyleLbl="alignNode1" presStyleIdx="1" presStyleCnt="3">
        <dgm:presLayoutVars>
          <dgm:chMax val="1"/>
          <dgm:bulletEnabled val="1"/>
        </dgm:presLayoutVars>
      </dgm:prSet>
      <dgm:spPr/>
      <dgm:t>
        <a:bodyPr/>
        <a:lstStyle/>
        <a:p>
          <a:endParaRPr lang="en-US"/>
        </a:p>
      </dgm:t>
    </dgm:pt>
    <dgm:pt modelId="{C15FB6E3-0293-4B0B-AF26-B73F2CA097CC}" type="pres">
      <dgm:prSet presAssocID="{62D0D28B-E41A-4904-8679-CD87B74FBD27}" presName="descendantText" presStyleLbl="alignAcc1" presStyleIdx="1" presStyleCnt="3">
        <dgm:presLayoutVars>
          <dgm:bulletEnabled val="1"/>
        </dgm:presLayoutVars>
      </dgm:prSet>
      <dgm:spPr/>
      <dgm:t>
        <a:bodyPr/>
        <a:lstStyle/>
        <a:p>
          <a:endParaRPr lang="en-US"/>
        </a:p>
      </dgm:t>
    </dgm:pt>
    <dgm:pt modelId="{0837FD00-AC7B-4697-9632-7778DE9E95AD}" type="pres">
      <dgm:prSet presAssocID="{FC99FA91-3996-4111-A156-D8CF76D3BA5C}" presName="sp" presStyleCnt="0"/>
      <dgm:spPr/>
    </dgm:pt>
    <dgm:pt modelId="{E55A94DB-BB50-4C13-A51B-28D7B2F04E7E}" type="pres">
      <dgm:prSet presAssocID="{3A117FCC-EB12-43B9-B6BD-32E6508210C8}" presName="composite" presStyleCnt="0"/>
      <dgm:spPr/>
    </dgm:pt>
    <dgm:pt modelId="{7B78C538-E12B-41C7-9C79-AB1EEB7173C4}" type="pres">
      <dgm:prSet presAssocID="{3A117FCC-EB12-43B9-B6BD-32E6508210C8}" presName="parentText" presStyleLbl="alignNode1" presStyleIdx="2" presStyleCnt="3">
        <dgm:presLayoutVars>
          <dgm:chMax val="1"/>
          <dgm:bulletEnabled val="1"/>
        </dgm:presLayoutVars>
      </dgm:prSet>
      <dgm:spPr/>
      <dgm:t>
        <a:bodyPr/>
        <a:lstStyle/>
        <a:p>
          <a:endParaRPr lang="en-US"/>
        </a:p>
      </dgm:t>
    </dgm:pt>
    <dgm:pt modelId="{EAFE2151-9D5E-482B-BEC4-858B926E2D94}" type="pres">
      <dgm:prSet presAssocID="{3A117FCC-EB12-43B9-B6BD-32E6508210C8}" presName="descendantText" presStyleLbl="alignAcc1" presStyleIdx="2" presStyleCnt="3">
        <dgm:presLayoutVars>
          <dgm:bulletEnabled val="1"/>
        </dgm:presLayoutVars>
      </dgm:prSet>
      <dgm:spPr/>
      <dgm:t>
        <a:bodyPr/>
        <a:lstStyle/>
        <a:p>
          <a:endParaRPr lang="en-US"/>
        </a:p>
      </dgm:t>
    </dgm:pt>
  </dgm:ptLst>
  <dgm:cxnLst>
    <dgm:cxn modelId="{2632A5B1-9003-42EA-B0B5-8FA42D3A38D5}" type="presOf" srcId="{BF6EFEC2-9F3A-43BB-B2C3-42AFD3406BA2}" destId="{6EE1CFD2-9F6A-4E5B-A214-6220A305C8B1}" srcOrd="0" destOrd="1" presId="urn:microsoft.com/office/officeart/2005/8/layout/chevron2"/>
    <dgm:cxn modelId="{2CCD2931-772C-436E-8FE2-81489BEFC2A1}" type="presOf" srcId="{C22B2FC5-D982-43F7-8DE1-A2877D518E0F}" destId="{B61C781A-0297-40C4-8B1A-43F04904D4BC}" srcOrd="0" destOrd="0" presId="urn:microsoft.com/office/officeart/2005/8/layout/chevron2"/>
    <dgm:cxn modelId="{CA91BDB0-1347-4BA5-AA81-E030BFDDA113}" srcId="{3A117FCC-EB12-43B9-B6BD-32E6508210C8}" destId="{80105BB6-8756-4A03-A813-716D7694E9E4}" srcOrd="0" destOrd="0" parTransId="{8C4F6104-EFB7-412E-AA18-69A1B4F907E9}" sibTransId="{2031742B-A4F1-4DC1-92A4-EE38D2A4CC4A}"/>
    <dgm:cxn modelId="{16BBC88D-7235-4E92-8EA1-526F86D845E7}" type="presOf" srcId="{7DF7FF06-105C-432A-A511-F3D410787D86}" destId="{C15FB6E3-0293-4B0B-AF26-B73F2CA097CC}" srcOrd="0" destOrd="2" presId="urn:microsoft.com/office/officeart/2005/8/layout/chevron2"/>
    <dgm:cxn modelId="{6BBC5095-08DE-4B6D-8F0A-6ABA49C50E06}" type="presOf" srcId="{3A117FCC-EB12-43B9-B6BD-32E6508210C8}" destId="{7B78C538-E12B-41C7-9C79-AB1EEB7173C4}" srcOrd="0" destOrd="0" presId="urn:microsoft.com/office/officeart/2005/8/layout/chevron2"/>
    <dgm:cxn modelId="{70B1E91B-EC1D-4948-A8EF-763821C36D34}" type="presOf" srcId="{80105BB6-8756-4A03-A813-716D7694E9E4}" destId="{EAFE2151-9D5E-482B-BEC4-858B926E2D94}" srcOrd="0" destOrd="0" presId="urn:microsoft.com/office/officeart/2005/8/layout/chevron2"/>
    <dgm:cxn modelId="{7017E145-BBDC-4CD0-A083-3BFF0E490EFF}" type="presOf" srcId="{F88A4359-2936-4363-84D8-08FC1F32B97D}" destId="{C15FB6E3-0293-4B0B-AF26-B73F2CA097CC}" srcOrd="0" destOrd="0" presId="urn:microsoft.com/office/officeart/2005/8/layout/chevron2"/>
    <dgm:cxn modelId="{1FFF910C-18DA-43F8-B6F5-ADAE722D186E}" srcId="{C22B2FC5-D982-43F7-8DE1-A2877D518E0F}" destId="{62D0D28B-E41A-4904-8679-CD87B74FBD27}" srcOrd="1" destOrd="0" parTransId="{CC619D81-57EE-47C2-A9A6-26F954CB3C53}" sibTransId="{FC99FA91-3996-4111-A156-D8CF76D3BA5C}"/>
    <dgm:cxn modelId="{81ABD2BC-BCC1-4648-B494-593C38A805D6}" type="presOf" srcId="{C50B2C2D-DB92-4D17-BD9C-24D17F33F79A}" destId="{65FB8F85-01F6-45F7-A194-0594BC6E178A}" srcOrd="0" destOrd="0" presId="urn:microsoft.com/office/officeart/2005/8/layout/chevron2"/>
    <dgm:cxn modelId="{33A2E114-97F7-4BDC-8508-05DD722685EF}" srcId="{62D0D28B-E41A-4904-8679-CD87B74FBD27}" destId="{7DF7FF06-105C-432A-A511-F3D410787D86}" srcOrd="2" destOrd="0" parTransId="{AFB0F049-9C2E-4B15-998A-422D78AA9F53}" sibTransId="{C9EA3AE4-9EB3-4B4E-9B85-B6A077CE4FE3}"/>
    <dgm:cxn modelId="{E11DBB43-F27C-48C1-9EB4-8187213581C8}" type="presOf" srcId="{80B96AC7-9C7B-4906-80E7-1C4B29094AE0}" destId="{C15FB6E3-0293-4B0B-AF26-B73F2CA097CC}" srcOrd="0" destOrd="1" presId="urn:microsoft.com/office/officeart/2005/8/layout/chevron2"/>
    <dgm:cxn modelId="{8CC1B638-B54B-4541-80E0-D05FE8F2FEAB}" type="presOf" srcId="{62D0D28B-E41A-4904-8679-CD87B74FBD27}" destId="{46789A42-0A7E-48C4-AE3A-54AF3059A87E}" srcOrd="0" destOrd="0" presId="urn:microsoft.com/office/officeart/2005/8/layout/chevron2"/>
    <dgm:cxn modelId="{85635D70-16B1-445B-A508-9F7EF9714DDB}" srcId="{C22B2FC5-D982-43F7-8DE1-A2877D518E0F}" destId="{3A117FCC-EB12-43B9-B6BD-32E6508210C8}" srcOrd="2" destOrd="0" parTransId="{7970E842-6C44-4643-B982-FD619FB36F8B}" sibTransId="{BB75F8F3-2E0A-4CD9-927B-EC769B717DD7}"/>
    <dgm:cxn modelId="{EBD8C81D-8AE1-4C54-9E3A-717F1821F47F}" type="presOf" srcId="{91587C1C-15A9-458E-8F45-130058594F85}" destId="{6EE1CFD2-9F6A-4E5B-A214-6220A305C8B1}" srcOrd="0" destOrd="0" presId="urn:microsoft.com/office/officeart/2005/8/layout/chevron2"/>
    <dgm:cxn modelId="{D9FCAC9E-8463-49AE-ABBC-0818EE01CA89}" srcId="{C22B2FC5-D982-43F7-8DE1-A2877D518E0F}" destId="{C50B2C2D-DB92-4D17-BD9C-24D17F33F79A}" srcOrd="0" destOrd="0" parTransId="{54CACB15-6CCE-4D57-86B1-4AC7B6336B1D}" sibTransId="{6A3CD72A-9E6E-491B-A023-0A26DFC4E669}"/>
    <dgm:cxn modelId="{5FBABDD7-2369-4679-9430-F16E8811CC7B}" srcId="{62D0D28B-E41A-4904-8679-CD87B74FBD27}" destId="{7C12825D-105D-45FA-A60F-112FF957E62D}" srcOrd="3" destOrd="0" parTransId="{8F766564-79A5-4320-B58E-C6FC69B4EF86}" sibTransId="{64B8AD8A-8FDB-4EAF-99F4-99C4FEA3ACF1}"/>
    <dgm:cxn modelId="{88E24667-2DA8-40F4-9CA0-E08196FDF875}" srcId="{62D0D28B-E41A-4904-8679-CD87B74FBD27}" destId="{F88A4359-2936-4363-84D8-08FC1F32B97D}" srcOrd="0" destOrd="0" parTransId="{7A99FEA5-963D-4514-AE20-33C185D794B6}" sibTransId="{0CD451A7-DFCA-4BEC-AF3D-41DD25C54C0F}"/>
    <dgm:cxn modelId="{D321277D-1885-4779-850A-986947DAF1D9}" srcId="{62D0D28B-E41A-4904-8679-CD87B74FBD27}" destId="{80B96AC7-9C7B-4906-80E7-1C4B29094AE0}" srcOrd="1" destOrd="0" parTransId="{2C1256DB-BB8B-4C09-A78C-E63E1FCCD4F1}" sibTransId="{E54466E7-9818-4F1F-A584-E74EDE5122C8}"/>
    <dgm:cxn modelId="{DFF71614-8467-4668-B4F9-5E3A09ABC77A}" srcId="{C50B2C2D-DB92-4D17-BD9C-24D17F33F79A}" destId="{91587C1C-15A9-458E-8F45-130058594F85}" srcOrd="0" destOrd="0" parTransId="{0947BE41-6AC6-44EB-9852-D268D5D1C56C}" sibTransId="{E0EE483B-2AC7-488E-862B-7F0A471B3989}"/>
    <dgm:cxn modelId="{F6846DC3-AFD5-4769-BF55-52F839365549}" type="presOf" srcId="{7C12825D-105D-45FA-A60F-112FF957E62D}" destId="{C15FB6E3-0293-4B0B-AF26-B73F2CA097CC}" srcOrd="0" destOrd="3" presId="urn:microsoft.com/office/officeart/2005/8/layout/chevron2"/>
    <dgm:cxn modelId="{828827E5-0EEB-49A3-8E41-DF6C51DF9956}" srcId="{C50B2C2D-DB92-4D17-BD9C-24D17F33F79A}" destId="{BF6EFEC2-9F3A-43BB-B2C3-42AFD3406BA2}" srcOrd="1" destOrd="0" parTransId="{05CE8462-EE4A-433B-8DAB-B486A89C2FF6}" sibTransId="{C7BA80E0-8431-4C31-BC52-024D5278EBDD}"/>
    <dgm:cxn modelId="{F9B8016B-CE00-4FA1-BDE8-7D84D0B9AD85}" type="presParOf" srcId="{B61C781A-0297-40C4-8B1A-43F04904D4BC}" destId="{CD6A4E5F-8C27-480B-9829-8EE473759828}" srcOrd="0" destOrd="0" presId="urn:microsoft.com/office/officeart/2005/8/layout/chevron2"/>
    <dgm:cxn modelId="{AE3FA95B-DFA5-4E6B-B384-F61741052FA9}" type="presParOf" srcId="{CD6A4E5F-8C27-480B-9829-8EE473759828}" destId="{65FB8F85-01F6-45F7-A194-0594BC6E178A}" srcOrd="0" destOrd="0" presId="urn:microsoft.com/office/officeart/2005/8/layout/chevron2"/>
    <dgm:cxn modelId="{1311821C-E13A-4D5B-8019-FD7551ECEFAD}" type="presParOf" srcId="{CD6A4E5F-8C27-480B-9829-8EE473759828}" destId="{6EE1CFD2-9F6A-4E5B-A214-6220A305C8B1}" srcOrd="1" destOrd="0" presId="urn:microsoft.com/office/officeart/2005/8/layout/chevron2"/>
    <dgm:cxn modelId="{F5E127F8-362F-4BFB-A83F-C657C2A25CEE}" type="presParOf" srcId="{B61C781A-0297-40C4-8B1A-43F04904D4BC}" destId="{326DB51D-0515-4653-A108-A1FDE5041B35}" srcOrd="1" destOrd="0" presId="urn:microsoft.com/office/officeart/2005/8/layout/chevron2"/>
    <dgm:cxn modelId="{E67D7EA5-17BC-414D-A209-E70B625C89F3}" type="presParOf" srcId="{B61C781A-0297-40C4-8B1A-43F04904D4BC}" destId="{CCE4BA82-5916-4CA3-BD59-143648238D15}" srcOrd="2" destOrd="0" presId="urn:microsoft.com/office/officeart/2005/8/layout/chevron2"/>
    <dgm:cxn modelId="{25A8CF24-9A5B-41FC-842A-025D47E19F85}" type="presParOf" srcId="{CCE4BA82-5916-4CA3-BD59-143648238D15}" destId="{46789A42-0A7E-48C4-AE3A-54AF3059A87E}" srcOrd="0" destOrd="0" presId="urn:microsoft.com/office/officeart/2005/8/layout/chevron2"/>
    <dgm:cxn modelId="{28C69867-A618-452A-AD7A-0BC9676568FF}" type="presParOf" srcId="{CCE4BA82-5916-4CA3-BD59-143648238D15}" destId="{C15FB6E3-0293-4B0B-AF26-B73F2CA097CC}" srcOrd="1" destOrd="0" presId="urn:microsoft.com/office/officeart/2005/8/layout/chevron2"/>
    <dgm:cxn modelId="{E4F3FD27-4CC5-4116-B638-C2D1DD820897}" type="presParOf" srcId="{B61C781A-0297-40C4-8B1A-43F04904D4BC}" destId="{0837FD00-AC7B-4697-9632-7778DE9E95AD}" srcOrd="3" destOrd="0" presId="urn:microsoft.com/office/officeart/2005/8/layout/chevron2"/>
    <dgm:cxn modelId="{7736B20B-F5B2-427D-BAC8-9FF780710DE4}" type="presParOf" srcId="{B61C781A-0297-40C4-8B1A-43F04904D4BC}" destId="{E55A94DB-BB50-4C13-A51B-28D7B2F04E7E}" srcOrd="4" destOrd="0" presId="urn:microsoft.com/office/officeart/2005/8/layout/chevron2"/>
    <dgm:cxn modelId="{2A4FBF65-8B72-4597-A429-0A5D2E15083B}" type="presParOf" srcId="{E55A94DB-BB50-4C13-A51B-28D7B2F04E7E}" destId="{7B78C538-E12B-41C7-9C79-AB1EEB7173C4}" srcOrd="0" destOrd="0" presId="urn:microsoft.com/office/officeart/2005/8/layout/chevron2"/>
    <dgm:cxn modelId="{0FF5A088-807C-4E5C-A10E-3D4FB2DC3283}" type="presParOf" srcId="{E55A94DB-BB50-4C13-A51B-28D7B2F04E7E}" destId="{EAFE2151-9D5E-482B-BEC4-858B926E2D94}" srcOrd="1" destOrd="0" presId="urn:microsoft.com/office/officeart/2005/8/layout/chevron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AE4CA6B-BB1B-49B6-8A55-9088EFD74FDB}"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63073C6F-9CF7-4928-B683-4C0F1562C5F3}">
      <dgm:prSet phldrT="[Text]" custT="1"/>
      <dgm:spPr/>
      <dgm:t>
        <a:bodyPr/>
        <a:lstStyle/>
        <a:p>
          <a:pPr>
            <a:lnSpc>
              <a:spcPct val="100000"/>
            </a:lnSpc>
          </a:pPr>
          <a:r>
            <a:rPr lang="en-US" sz="2600" baseline="0" dirty="0">
              <a:latin typeface="+mj-lt"/>
            </a:rPr>
            <a:t>According to The Joint Commission, disruptive behavior:</a:t>
          </a:r>
        </a:p>
      </dgm:t>
    </dgm:pt>
    <dgm:pt modelId="{0460D0A4-2FD2-41A4-BAAB-7AEF4F766E7C}" type="parTrans" cxnId="{46149AC7-A6F8-4D68-ABD0-E4CB433A2C7E}">
      <dgm:prSet/>
      <dgm:spPr/>
      <dgm:t>
        <a:bodyPr/>
        <a:lstStyle/>
        <a:p>
          <a:endParaRPr lang="en-US"/>
        </a:p>
      </dgm:t>
    </dgm:pt>
    <dgm:pt modelId="{52484E16-29DF-4680-A454-85955B553652}" type="sibTrans" cxnId="{46149AC7-A6F8-4D68-ABD0-E4CB433A2C7E}">
      <dgm:prSet/>
      <dgm:spPr/>
      <dgm:t>
        <a:bodyPr/>
        <a:lstStyle/>
        <a:p>
          <a:endParaRPr lang="en-US"/>
        </a:p>
      </dgm:t>
    </dgm:pt>
    <dgm:pt modelId="{86C076AD-4AE6-4381-B04B-740F96D3AB2C}">
      <dgm:prSet phldrT="[Text]" custT="1"/>
      <dgm:spPr/>
      <dgm:t>
        <a:bodyPr/>
        <a:lstStyle/>
        <a:p>
          <a:pPr>
            <a:lnSpc>
              <a:spcPct val="100000"/>
            </a:lnSpc>
            <a:spcBef>
              <a:spcPts val="600"/>
            </a:spcBef>
            <a:spcAft>
              <a:spcPts val="1800"/>
            </a:spcAft>
          </a:pPr>
          <a:r>
            <a:rPr lang="en-US" sz="2600" baseline="0" dirty="0">
              <a:solidFill>
                <a:schemeClr val="tx2"/>
              </a:solidFill>
            </a:rPr>
            <a:t>Fosters medical errors</a:t>
          </a:r>
        </a:p>
      </dgm:t>
    </dgm:pt>
    <dgm:pt modelId="{B96153BB-D276-426C-AD4C-D7957504B445}" type="parTrans" cxnId="{F9C22BCE-4691-496F-BC4B-25C408448490}">
      <dgm:prSet/>
      <dgm:spPr/>
      <dgm:t>
        <a:bodyPr/>
        <a:lstStyle/>
        <a:p>
          <a:endParaRPr lang="en-US"/>
        </a:p>
      </dgm:t>
    </dgm:pt>
    <dgm:pt modelId="{C0F1CBC0-CC7D-4FF8-95A6-96AAC153FC07}" type="sibTrans" cxnId="{F9C22BCE-4691-496F-BC4B-25C408448490}">
      <dgm:prSet/>
      <dgm:spPr/>
      <dgm:t>
        <a:bodyPr/>
        <a:lstStyle/>
        <a:p>
          <a:endParaRPr lang="en-US"/>
        </a:p>
      </dgm:t>
    </dgm:pt>
    <dgm:pt modelId="{ABD1DB73-E9FC-48CA-93FF-BD798F0A3813}">
      <dgm:prSet custT="1"/>
      <dgm:spPr/>
      <dgm:t>
        <a:bodyPr/>
        <a:lstStyle/>
        <a:p>
          <a:pPr>
            <a:lnSpc>
              <a:spcPct val="100000"/>
            </a:lnSpc>
            <a:spcBef>
              <a:spcPts val="600"/>
            </a:spcBef>
            <a:spcAft>
              <a:spcPts val="1800"/>
            </a:spcAft>
          </a:pPr>
          <a:r>
            <a:rPr lang="en-US" sz="2600" baseline="0" dirty="0">
              <a:solidFill>
                <a:schemeClr val="tx2"/>
              </a:solidFill>
            </a:rPr>
            <a:t>Decreases patient satisfaction</a:t>
          </a:r>
        </a:p>
      </dgm:t>
    </dgm:pt>
    <dgm:pt modelId="{9A40FAD2-8033-4C4F-B0DC-6B2CB566884D}" type="parTrans" cxnId="{FDF41EBF-2424-45BA-BC43-EEB9A668583A}">
      <dgm:prSet/>
      <dgm:spPr/>
      <dgm:t>
        <a:bodyPr/>
        <a:lstStyle/>
        <a:p>
          <a:endParaRPr lang="en-US"/>
        </a:p>
      </dgm:t>
    </dgm:pt>
    <dgm:pt modelId="{F70F935A-3CE2-4BB8-AC32-965F01F273DC}" type="sibTrans" cxnId="{FDF41EBF-2424-45BA-BC43-EEB9A668583A}">
      <dgm:prSet/>
      <dgm:spPr/>
      <dgm:t>
        <a:bodyPr/>
        <a:lstStyle/>
        <a:p>
          <a:endParaRPr lang="en-US"/>
        </a:p>
      </dgm:t>
    </dgm:pt>
    <dgm:pt modelId="{C5D7C6AD-BDD3-4B52-90EE-9C2B7BD4813D}">
      <dgm:prSet custT="1"/>
      <dgm:spPr/>
      <dgm:t>
        <a:bodyPr/>
        <a:lstStyle/>
        <a:p>
          <a:pPr>
            <a:lnSpc>
              <a:spcPct val="100000"/>
            </a:lnSpc>
            <a:spcBef>
              <a:spcPts val="600"/>
            </a:spcBef>
            <a:spcAft>
              <a:spcPts val="1800"/>
            </a:spcAft>
          </a:pPr>
          <a:r>
            <a:rPr lang="en-US" sz="2600" baseline="0" dirty="0">
              <a:solidFill>
                <a:schemeClr val="tx2"/>
              </a:solidFill>
            </a:rPr>
            <a:t>Increases preventable adverse events</a:t>
          </a:r>
        </a:p>
      </dgm:t>
    </dgm:pt>
    <dgm:pt modelId="{BEC139D4-C529-40B6-A5BB-12E4994B74E8}" type="parTrans" cxnId="{5FDEF907-6FE1-42CD-AD7E-3E91B998898F}">
      <dgm:prSet/>
      <dgm:spPr/>
      <dgm:t>
        <a:bodyPr/>
        <a:lstStyle/>
        <a:p>
          <a:endParaRPr lang="en-US"/>
        </a:p>
      </dgm:t>
    </dgm:pt>
    <dgm:pt modelId="{66A7F13C-5C1B-4FC6-9E52-46097F57B2F3}" type="sibTrans" cxnId="{5FDEF907-6FE1-42CD-AD7E-3E91B998898F}">
      <dgm:prSet/>
      <dgm:spPr/>
      <dgm:t>
        <a:bodyPr/>
        <a:lstStyle/>
        <a:p>
          <a:endParaRPr lang="en-US"/>
        </a:p>
      </dgm:t>
    </dgm:pt>
    <dgm:pt modelId="{20B79449-0E6C-40A7-BCB6-7EA990748D2B}">
      <dgm:prSet custT="1"/>
      <dgm:spPr/>
      <dgm:t>
        <a:bodyPr/>
        <a:lstStyle/>
        <a:p>
          <a:pPr>
            <a:lnSpc>
              <a:spcPct val="100000"/>
            </a:lnSpc>
            <a:spcBef>
              <a:spcPts val="600"/>
            </a:spcBef>
            <a:spcAft>
              <a:spcPts val="1800"/>
            </a:spcAft>
          </a:pPr>
          <a:r>
            <a:rPr lang="en-US" sz="2600" baseline="0" dirty="0">
              <a:solidFill>
                <a:schemeClr val="tx2"/>
              </a:solidFill>
            </a:rPr>
            <a:t>Increases the cost of care</a:t>
          </a:r>
        </a:p>
      </dgm:t>
    </dgm:pt>
    <dgm:pt modelId="{0DA75958-7553-4E63-B0E3-44FB21427ABB}" type="parTrans" cxnId="{F959DB50-FE0F-49E2-BEBA-9C7A953E2BAC}">
      <dgm:prSet/>
      <dgm:spPr/>
      <dgm:t>
        <a:bodyPr/>
        <a:lstStyle/>
        <a:p>
          <a:endParaRPr lang="en-US"/>
        </a:p>
      </dgm:t>
    </dgm:pt>
    <dgm:pt modelId="{D3767A7B-9DB1-4E0F-9B0A-7E74FB2FE9C8}" type="sibTrans" cxnId="{F959DB50-FE0F-49E2-BEBA-9C7A953E2BAC}">
      <dgm:prSet/>
      <dgm:spPr/>
      <dgm:t>
        <a:bodyPr/>
        <a:lstStyle/>
        <a:p>
          <a:endParaRPr lang="en-US"/>
        </a:p>
      </dgm:t>
    </dgm:pt>
    <dgm:pt modelId="{322C0648-AEF8-4BFC-974B-AAA51E9CEBEE}">
      <dgm:prSet custT="1"/>
      <dgm:spPr/>
      <dgm:t>
        <a:bodyPr/>
        <a:lstStyle/>
        <a:p>
          <a:pPr>
            <a:lnSpc>
              <a:spcPct val="100000"/>
            </a:lnSpc>
            <a:spcBef>
              <a:spcPts val="600"/>
            </a:spcBef>
            <a:spcAft>
              <a:spcPts val="1200"/>
            </a:spcAft>
          </a:pPr>
          <a:r>
            <a:rPr lang="en-US" sz="2600" baseline="0">
              <a:solidFill>
                <a:schemeClr val="tx2"/>
              </a:solidFill>
            </a:rPr>
            <a:t>Drives away clinicians and others on </a:t>
          </a:r>
          <a:br>
            <a:rPr lang="en-US" sz="2600" baseline="0">
              <a:solidFill>
                <a:schemeClr val="tx2"/>
              </a:solidFill>
            </a:rPr>
          </a:br>
          <a:r>
            <a:rPr lang="en-US" sz="2600" baseline="0">
              <a:solidFill>
                <a:schemeClr val="tx2"/>
              </a:solidFill>
            </a:rPr>
            <a:t>the healthcare team</a:t>
          </a:r>
          <a:endParaRPr lang="en-US" sz="2600" baseline="0" dirty="0">
            <a:solidFill>
              <a:schemeClr val="tx2"/>
            </a:solidFill>
          </a:endParaRPr>
        </a:p>
      </dgm:t>
    </dgm:pt>
    <dgm:pt modelId="{06E69A26-8A7F-48FC-B2B2-90BA8D30F191}" type="parTrans" cxnId="{47FCCAAD-721C-4B41-BC46-553E43B41BE8}">
      <dgm:prSet/>
      <dgm:spPr/>
      <dgm:t>
        <a:bodyPr/>
        <a:lstStyle/>
        <a:p>
          <a:endParaRPr lang="en-US"/>
        </a:p>
      </dgm:t>
    </dgm:pt>
    <dgm:pt modelId="{DA62C6A3-372C-4063-B5DD-8FC535761265}" type="sibTrans" cxnId="{47FCCAAD-721C-4B41-BC46-553E43B41BE8}">
      <dgm:prSet/>
      <dgm:spPr/>
      <dgm:t>
        <a:bodyPr/>
        <a:lstStyle/>
        <a:p>
          <a:endParaRPr lang="en-US"/>
        </a:p>
      </dgm:t>
    </dgm:pt>
    <dgm:pt modelId="{631678CA-1934-44B6-B783-05E12CD869C4}" type="pres">
      <dgm:prSet presAssocID="{2AE4CA6B-BB1B-49B6-8A55-9088EFD74FDB}" presName="linear" presStyleCnt="0">
        <dgm:presLayoutVars>
          <dgm:dir/>
          <dgm:animLvl val="lvl"/>
          <dgm:resizeHandles val="exact"/>
        </dgm:presLayoutVars>
      </dgm:prSet>
      <dgm:spPr/>
      <dgm:t>
        <a:bodyPr/>
        <a:lstStyle/>
        <a:p>
          <a:endParaRPr lang="en-US"/>
        </a:p>
      </dgm:t>
    </dgm:pt>
    <dgm:pt modelId="{791B934D-B4B5-4148-B9E0-C5E6D649F527}" type="pres">
      <dgm:prSet presAssocID="{63073C6F-9CF7-4928-B683-4C0F1562C5F3}" presName="parentLin" presStyleCnt="0"/>
      <dgm:spPr/>
    </dgm:pt>
    <dgm:pt modelId="{616FCF51-C731-441F-BEAE-AA48DD4F7648}" type="pres">
      <dgm:prSet presAssocID="{63073C6F-9CF7-4928-B683-4C0F1562C5F3}" presName="parentLeftMargin" presStyleLbl="node1" presStyleIdx="0" presStyleCnt="1"/>
      <dgm:spPr/>
      <dgm:t>
        <a:bodyPr/>
        <a:lstStyle/>
        <a:p>
          <a:endParaRPr lang="en-US"/>
        </a:p>
      </dgm:t>
    </dgm:pt>
    <dgm:pt modelId="{C481669E-5E9E-493D-B027-91D3CBBEB4BC}" type="pres">
      <dgm:prSet presAssocID="{63073C6F-9CF7-4928-B683-4C0F1562C5F3}" presName="parentText" presStyleLbl="node1" presStyleIdx="0" presStyleCnt="1">
        <dgm:presLayoutVars>
          <dgm:chMax val="0"/>
          <dgm:bulletEnabled val="1"/>
        </dgm:presLayoutVars>
      </dgm:prSet>
      <dgm:spPr/>
      <dgm:t>
        <a:bodyPr/>
        <a:lstStyle/>
        <a:p>
          <a:endParaRPr lang="en-US"/>
        </a:p>
      </dgm:t>
    </dgm:pt>
    <dgm:pt modelId="{DAA685BB-29F9-4075-B516-C67CCCA2E994}" type="pres">
      <dgm:prSet presAssocID="{63073C6F-9CF7-4928-B683-4C0F1562C5F3}" presName="negativeSpace" presStyleCnt="0"/>
      <dgm:spPr/>
    </dgm:pt>
    <dgm:pt modelId="{231EBF0B-D9B8-4324-A04D-DCE0D5789810}" type="pres">
      <dgm:prSet presAssocID="{63073C6F-9CF7-4928-B683-4C0F1562C5F3}" presName="childText" presStyleLbl="conFgAcc1" presStyleIdx="0" presStyleCnt="1">
        <dgm:presLayoutVars>
          <dgm:bulletEnabled val="1"/>
        </dgm:presLayoutVars>
      </dgm:prSet>
      <dgm:spPr/>
      <dgm:t>
        <a:bodyPr/>
        <a:lstStyle/>
        <a:p>
          <a:endParaRPr lang="en-US"/>
        </a:p>
      </dgm:t>
    </dgm:pt>
  </dgm:ptLst>
  <dgm:cxnLst>
    <dgm:cxn modelId="{512B254E-3126-444D-AC69-56655DF7664A}" type="presOf" srcId="{2AE4CA6B-BB1B-49B6-8A55-9088EFD74FDB}" destId="{631678CA-1934-44B6-B783-05E12CD869C4}" srcOrd="0" destOrd="0" presId="urn:microsoft.com/office/officeart/2005/8/layout/list1"/>
    <dgm:cxn modelId="{9DB284FF-0317-41CB-B32D-0DBCE3C65334}" type="presOf" srcId="{63073C6F-9CF7-4928-B683-4C0F1562C5F3}" destId="{616FCF51-C731-441F-BEAE-AA48DD4F7648}" srcOrd="0" destOrd="0" presId="urn:microsoft.com/office/officeart/2005/8/layout/list1"/>
    <dgm:cxn modelId="{46149AC7-A6F8-4D68-ABD0-E4CB433A2C7E}" srcId="{2AE4CA6B-BB1B-49B6-8A55-9088EFD74FDB}" destId="{63073C6F-9CF7-4928-B683-4C0F1562C5F3}" srcOrd="0" destOrd="0" parTransId="{0460D0A4-2FD2-41A4-BAAB-7AEF4F766E7C}" sibTransId="{52484E16-29DF-4680-A454-85955B553652}"/>
    <dgm:cxn modelId="{30FD8755-9697-4881-834D-42C0687E6142}" type="presOf" srcId="{63073C6F-9CF7-4928-B683-4C0F1562C5F3}" destId="{C481669E-5E9E-493D-B027-91D3CBBEB4BC}" srcOrd="1" destOrd="0" presId="urn:microsoft.com/office/officeart/2005/8/layout/list1"/>
    <dgm:cxn modelId="{658EC127-99EA-4049-84A3-DE1CC3D24963}" type="presOf" srcId="{86C076AD-4AE6-4381-B04B-740F96D3AB2C}" destId="{231EBF0B-D9B8-4324-A04D-DCE0D5789810}" srcOrd="0" destOrd="0" presId="urn:microsoft.com/office/officeart/2005/8/layout/list1"/>
    <dgm:cxn modelId="{A5EDE61E-8F4E-4B4B-B64E-1C5F9CF81BB4}" type="presOf" srcId="{C5D7C6AD-BDD3-4B52-90EE-9C2B7BD4813D}" destId="{231EBF0B-D9B8-4324-A04D-DCE0D5789810}" srcOrd="0" destOrd="2" presId="urn:microsoft.com/office/officeart/2005/8/layout/list1"/>
    <dgm:cxn modelId="{EEEECB02-0997-408A-84D3-5640108692A4}" type="presOf" srcId="{ABD1DB73-E9FC-48CA-93FF-BD798F0A3813}" destId="{231EBF0B-D9B8-4324-A04D-DCE0D5789810}" srcOrd="0" destOrd="1" presId="urn:microsoft.com/office/officeart/2005/8/layout/list1"/>
    <dgm:cxn modelId="{E1ACB31D-7B02-4A5A-B47B-F527FDAC0A1E}" type="presOf" srcId="{322C0648-AEF8-4BFC-974B-AAA51E9CEBEE}" destId="{231EBF0B-D9B8-4324-A04D-DCE0D5789810}" srcOrd="0" destOrd="4" presId="urn:microsoft.com/office/officeart/2005/8/layout/list1"/>
    <dgm:cxn modelId="{F9C22BCE-4691-496F-BC4B-25C408448490}" srcId="{63073C6F-9CF7-4928-B683-4C0F1562C5F3}" destId="{86C076AD-4AE6-4381-B04B-740F96D3AB2C}" srcOrd="0" destOrd="0" parTransId="{B96153BB-D276-426C-AD4C-D7957504B445}" sibTransId="{C0F1CBC0-CC7D-4FF8-95A6-96AAC153FC07}"/>
    <dgm:cxn modelId="{5FDEF907-6FE1-42CD-AD7E-3E91B998898F}" srcId="{63073C6F-9CF7-4928-B683-4C0F1562C5F3}" destId="{C5D7C6AD-BDD3-4B52-90EE-9C2B7BD4813D}" srcOrd="2" destOrd="0" parTransId="{BEC139D4-C529-40B6-A5BB-12E4994B74E8}" sibTransId="{66A7F13C-5C1B-4FC6-9E52-46097F57B2F3}"/>
    <dgm:cxn modelId="{F959DB50-FE0F-49E2-BEBA-9C7A953E2BAC}" srcId="{63073C6F-9CF7-4928-B683-4C0F1562C5F3}" destId="{20B79449-0E6C-40A7-BCB6-7EA990748D2B}" srcOrd="3" destOrd="0" parTransId="{0DA75958-7553-4E63-B0E3-44FB21427ABB}" sibTransId="{D3767A7B-9DB1-4E0F-9B0A-7E74FB2FE9C8}"/>
    <dgm:cxn modelId="{5F6782F9-966A-48CE-9F6C-F28A20B3861E}" type="presOf" srcId="{20B79449-0E6C-40A7-BCB6-7EA990748D2B}" destId="{231EBF0B-D9B8-4324-A04D-DCE0D5789810}" srcOrd="0" destOrd="3" presId="urn:microsoft.com/office/officeart/2005/8/layout/list1"/>
    <dgm:cxn modelId="{FDF41EBF-2424-45BA-BC43-EEB9A668583A}" srcId="{63073C6F-9CF7-4928-B683-4C0F1562C5F3}" destId="{ABD1DB73-E9FC-48CA-93FF-BD798F0A3813}" srcOrd="1" destOrd="0" parTransId="{9A40FAD2-8033-4C4F-B0DC-6B2CB566884D}" sibTransId="{F70F935A-3CE2-4BB8-AC32-965F01F273DC}"/>
    <dgm:cxn modelId="{47FCCAAD-721C-4B41-BC46-553E43B41BE8}" srcId="{63073C6F-9CF7-4928-B683-4C0F1562C5F3}" destId="{322C0648-AEF8-4BFC-974B-AAA51E9CEBEE}" srcOrd="4" destOrd="0" parTransId="{06E69A26-8A7F-48FC-B2B2-90BA8D30F191}" sibTransId="{DA62C6A3-372C-4063-B5DD-8FC535761265}"/>
    <dgm:cxn modelId="{47470FAD-D3D9-4838-8237-8B43F3BEDBE2}" type="presParOf" srcId="{631678CA-1934-44B6-B783-05E12CD869C4}" destId="{791B934D-B4B5-4148-B9E0-C5E6D649F527}" srcOrd="0" destOrd="0" presId="urn:microsoft.com/office/officeart/2005/8/layout/list1"/>
    <dgm:cxn modelId="{0720C436-C38D-43A9-9F1A-B0BF33707285}" type="presParOf" srcId="{791B934D-B4B5-4148-B9E0-C5E6D649F527}" destId="{616FCF51-C731-441F-BEAE-AA48DD4F7648}" srcOrd="0" destOrd="0" presId="urn:microsoft.com/office/officeart/2005/8/layout/list1"/>
    <dgm:cxn modelId="{469ADFFC-A729-4B93-B775-B83B63B2FCDB}" type="presParOf" srcId="{791B934D-B4B5-4148-B9E0-C5E6D649F527}" destId="{C481669E-5E9E-493D-B027-91D3CBBEB4BC}" srcOrd="1" destOrd="0" presId="urn:microsoft.com/office/officeart/2005/8/layout/list1"/>
    <dgm:cxn modelId="{2D8E471E-BFC3-471E-A5E6-F3D1DE4DFBC6}" type="presParOf" srcId="{631678CA-1934-44B6-B783-05E12CD869C4}" destId="{DAA685BB-29F9-4075-B516-C67CCCA2E994}" srcOrd="1" destOrd="0" presId="urn:microsoft.com/office/officeart/2005/8/layout/list1"/>
    <dgm:cxn modelId="{76D97D5E-8ED4-4FCF-BB79-D74FC93E2870}" type="presParOf" srcId="{631678CA-1934-44B6-B783-05E12CD869C4}" destId="{231EBF0B-D9B8-4324-A04D-DCE0D5789810}"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21E7D0B-B32E-4136-8879-DC38BA8CCACF}" type="doc">
      <dgm:prSet loTypeId="urn:microsoft.com/office/officeart/2005/8/layout/list1" loCatId="list" qsTypeId="urn:microsoft.com/office/officeart/2005/8/quickstyle/simple1" qsCatId="simple" csTypeId="urn:microsoft.com/office/officeart/2005/8/colors/accent2_2" csCatId="accent2" phldr="1"/>
      <dgm:spPr/>
      <dgm:t>
        <a:bodyPr/>
        <a:lstStyle/>
        <a:p>
          <a:endParaRPr lang="en-US"/>
        </a:p>
      </dgm:t>
    </dgm:pt>
    <dgm:pt modelId="{3F5202BD-5D3D-4A4F-907B-057CC31969EA}">
      <dgm:prSet phldrT="[Text]" custT="1"/>
      <dgm:spPr>
        <a:solidFill>
          <a:schemeClr val="accent3"/>
        </a:solidFill>
      </dgm:spPr>
      <dgm:t>
        <a:bodyPr/>
        <a:lstStyle/>
        <a:p>
          <a:r>
            <a:rPr lang="en-US" sz="2400" dirty="0"/>
            <a:t>Peer messengers share behavior reports directly with recipients: </a:t>
          </a:r>
        </a:p>
      </dgm:t>
    </dgm:pt>
    <dgm:pt modelId="{4A23E6B1-4102-4E31-BAD2-3EBD030A846A}" type="parTrans" cxnId="{739F4525-AC68-470F-A487-A075F43B643C}">
      <dgm:prSet/>
      <dgm:spPr/>
      <dgm:t>
        <a:bodyPr/>
        <a:lstStyle/>
        <a:p>
          <a:endParaRPr lang="en-US" sz="2400"/>
        </a:p>
      </dgm:t>
    </dgm:pt>
    <dgm:pt modelId="{D17CAC80-1348-4755-9A82-DEA92BC1B4AA}" type="sibTrans" cxnId="{739F4525-AC68-470F-A487-A075F43B643C}">
      <dgm:prSet/>
      <dgm:spPr/>
      <dgm:t>
        <a:bodyPr/>
        <a:lstStyle/>
        <a:p>
          <a:endParaRPr lang="en-US" sz="2400"/>
        </a:p>
      </dgm:t>
    </dgm:pt>
    <dgm:pt modelId="{B6D53F0B-63BC-4C95-9781-B36F73BE47F9}">
      <dgm:prSet phldrT="[Text]" custT="1"/>
      <dgm:spPr/>
      <dgm:t>
        <a:bodyPr/>
        <a:lstStyle/>
        <a:p>
          <a:pPr>
            <a:lnSpc>
              <a:spcPct val="100000"/>
            </a:lnSpc>
            <a:spcBef>
              <a:spcPts val="600"/>
            </a:spcBef>
            <a:spcAft>
              <a:spcPts val="1200"/>
            </a:spcAft>
          </a:pPr>
          <a:r>
            <a:rPr lang="en-US" sz="2400" dirty="0">
              <a:solidFill>
                <a:schemeClr val="tx2"/>
              </a:solidFill>
            </a:rPr>
            <a:t>Vanderbilt: Coworker observation reporting system (CORS) to report unsafe conduct and behaviors known to undermine teams</a:t>
          </a:r>
        </a:p>
      </dgm:t>
    </dgm:pt>
    <dgm:pt modelId="{0996E170-2BA8-4DFE-945E-084CC01AD503}" type="parTrans" cxnId="{835B1254-C43A-4987-9182-BEED4E460725}">
      <dgm:prSet/>
      <dgm:spPr/>
      <dgm:t>
        <a:bodyPr/>
        <a:lstStyle/>
        <a:p>
          <a:endParaRPr lang="en-US" sz="2400"/>
        </a:p>
      </dgm:t>
    </dgm:pt>
    <dgm:pt modelId="{85F82E60-6C68-4A80-A3EA-E27F97C10C94}" type="sibTrans" cxnId="{835B1254-C43A-4987-9182-BEED4E460725}">
      <dgm:prSet/>
      <dgm:spPr/>
      <dgm:t>
        <a:bodyPr/>
        <a:lstStyle/>
        <a:p>
          <a:endParaRPr lang="en-US" sz="2400"/>
        </a:p>
      </dgm:t>
    </dgm:pt>
    <dgm:pt modelId="{6A55ECD7-E849-4BEF-9B34-AB03CB0636E1}">
      <dgm:prSet custT="1"/>
      <dgm:spPr/>
      <dgm:t>
        <a:bodyPr/>
        <a:lstStyle/>
        <a:p>
          <a:pPr>
            <a:lnSpc>
              <a:spcPct val="100000"/>
            </a:lnSpc>
            <a:spcBef>
              <a:spcPts val="600"/>
            </a:spcBef>
            <a:spcAft>
              <a:spcPts val="1200"/>
            </a:spcAft>
          </a:pPr>
          <a:r>
            <a:rPr lang="en-US" sz="2400" dirty="0">
              <a:solidFill>
                <a:schemeClr val="tx2"/>
              </a:solidFill>
            </a:rPr>
            <a:t>3% of medical staff (physicians and advanced practice professionals [APPs]) had pattern of CORS reports</a:t>
          </a:r>
        </a:p>
      </dgm:t>
    </dgm:pt>
    <dgm:pt modelId="{725546ED-83F0-4482-88B5-2862015F9288}" type="parTrans" cxnId="{933B0965-F143-422D-863C-DF3E8150C22F}">
      <dgm:prSet/>
      <dgm:spPr/>
      <dgm:t>
        <a:bodyPr/>
        <a:lstStyle/>
        <a:p>
          <a:endParaRPr lang="en-US" sz="2400"/>
        </a:p>
      </dgm:t>
    </dgm:pt>
    <dgm:pt modelId="{36C88D14-D152-4D7E-978C-A04BDA5C0BD5}" type="sibTrans" cxnId="{933B0965-F143-422D-863C-DF3E8150C22F}">
      <dgm:prSet/>
      <dgm:spPr/>
      <dgm:t>
        <a:bodyPr/>
        <a:lstStyle/>
        <a:p>
          <a:endParaRPr lang="en-US" sz="2400"/>
        </a:p>
      </dgm:t>
    </dgm:pt>
    <dgm:pt modelId="{70B24117-EF6B-4F65-8AEE-4CDB69224ACD}">
      <dgm:prSet custT="1"/>
      <dgm:spPr/>
      <dgm:t>
        <a:bodyPr/>
        <a:lstStyle/>
        <a:p>
          <a:pPr>
            <a:lnSpc>
              <a:spcPct val="100000"/>
            </a:lnSpc>
            <a:spcBef>
              <a:spcPts val="600"/>
            </a:spcBef>
            <a:spcAft>
              <a:spcPts val="1200"/>
            </a:spcAft>
          </a:pPr>
          <a:r>
            <a:rPr lang="en-US" sz="2400" dirty="0">
              <a:solidFill>
                <a:schemeClr val="tx2"/>
              </a:solidFill>
            </a:rPr>
            <a:t>71% of recipients with CORS patterns following peer messenger feedback were not named in any subsequent CORS reports </a:t>
          </a:r>
          <a:br>
            <a:rPr lang="en-US" sz="2400" dirty="0">
              <a:solidFill>
                <a:schemeClr val="tx2"/>
              </a:solidFill>
            </a:rPr>
          </a:br>
          <a:r>
            <a:rPr lang="en-US" sz="2400" dirty="0">
              <a:solidFill>
                <a:schemeClr val="tx2"/>
              </a:solidFill>
            </a:rPr>
            <a:t>(1-year follow-up period)</a:t>
          </a:r>
        </a:p>
      </dgm:t>
    </dgm:pt>
    <dgm:pt modelId="{1A58500F-CEDB-4157-9BD6-FCAB574DF309}" type="parTrans" cxnId="{82908C19-BF36-4447-97B2-77E898F65A5B}">
      <dgm:prSet/>
      <dgm:spPr/>
      <dgm:t>
        <a:bodyPr/>
        <a:lstStyle/>
        <a:p>
          <a:endParaRPr lang="en-US" sz="2400"/>
        </a:p>
      </dgm:t>
    </dgm:pt>
    <dgm:pt modelId="{83544964-A39A-4C1B-A78D-7E2EBA433F96}" type="sibTrans" cxnId="{82908C19-BF36-4447-97B2-77E898F65A5B}">
      <dgm:prSet/>
      <dgm:spPr/>
      <dgm:t>
        <a:bodyPr/>
        <a:lstStyle/>
        <a:p>
          <a:endParaRPr lang="en-US" sz="2400"/>
        </a:p>
      </dgm:t>
    </dgm:pt>
    <dgm:pt modelId="{0C3F0B5A-4126-46CB-AD1C-2F2DCAD7B7C7}" type="pres">
      <dgm:prSet presAssocID="{921E7D0B-B32E-4136-8879-DC38BA8CCACF}" presName="linear" presStyleCnt="0">
        <dgm:presLayoutVars>
          <dgm:dir/>
          <dgm:animLvl val="lvl"/>
          <dgm:resizeHandles val="exact"/>
        </dgm:presLayoutVars>
      </dgm:prSet>
      <dgm:spPr/>
      <dgm:t>
        <a:bodyPr/>
        <a:lstStyle/>
        <a:p>
          <a:endParaRPr lang="en-US"/>
        </a:p>
      </dgm:t>
    </dgm:pt>
    <dgm:pt modelId="{57837154-635D-4340-A9E6-005CAB077C5F}" type="pres">
      <dgm:prSet presAssocID="{3F5202BD-5D3D-4A4F-907B-057CC31969EA}" presName="parentLin" presStyleCnt="0"/>
      <dgm:spPr/>
    </dgm:pt>
    <dgm:pt modelId="{AF2AA73F-76E2-4062-874C-EB98C2D96ADF}" type="pres">
      <dgm:prSet presAssocID="{3F5202BD-5D3D-4A4F-907B-057CC31969EA}" presName="parentLeftMargin" presStyleLbl="node1" presStyleIdx="0" presStyleCnt="1"/>
      <dgm:spPr/>
      <dgm:t>
        <a:bodyPr/>
        <a:lstStyle/>
        <a:p>
          <a:endParaRPr lang="en-US"/>
        </a:p>
      </dgm:t>
    </dgm:pt>
    <dgm:pt modelId="{F313DEB3-AF09-4FD4-A59E-AC2A587AB7B2}" type="pres">
      <dgm:prSet presAssocID="{3F5202BD-5D3D-4A4F-907B-057CC31969EA}" presName="parentText" presStyleLbl="node1" presStyleIdx="0" presStyleCnt="1">
        <dgm:presLayoutVars>
          <dgm:chMax val="0"/>
          <dgm:bulletEnabled val="1"/>
        </dgm:presLayoutVars>
      </dgm:prSet>
      <dgm:spPr/>
      <dgm:t>
        <a:bodyPr/>
        <a:lstStyle/>
        <a:p>
          <a:endParaRPr lang="en-US"/>
        </a:p>
      </dgm:t>
    </dgm:pt>
    <dgm:pt modelId="{E6648B50-F68B-468F-B0F5-13FE2693C5CB}" type="pres">
      <dgm:prSet presAssocID="{3F5202BD-5D3D-4A4F-907B-057CC31969EA}" presName="negativeSpace" presStyleCnt="0"/>
      <dgm:spPr/>
    </dgm:pt>
    <dgm:pt modelId="{17095B2D-082B-46A5-8D66-B0DB7402E6F4}" type="pres">
      <dgm:prSet presAssocID="{3F5202BD-5D3D-4A4F-907B-057CC31969EA}" presName="childText" presStyleLbl="conFgAcc1" presStyleIdx="0" presStyleCnt="1">
        <dgm:presLayoutVars>
          <dgm:bulletEnabled val="1"/>
        </dgm:presLayoutVars>
      </dgm:prSet>
      <dgm:spPr/>
      <dgm:t>
        <a:bodyPr/>
        <a:lstStyle/>
        <a:p>
          <a:endParaRPr lang="en-US"/>
        </a:p>
      </dgm:t>
    </dgm:pt>
  </dgm:ptLst>
  <dgm:cxnLst>
    <dgm:cxn modelId="{933B0965-F143-422D-863C-DF3E8150C22F}" srcId="{3F5202BD-5D3D-4A4F-907B-057CC31969EA}" destId="{6A55ECD7-E849-4BEF-9B34-AB03CB0636E1}" srcOrd="1" destOrd="0" parTransId="{725546ED-83F0-4482-88B5-2862015F9288}" sibTransId="{36C88D14-D152-4D7E-978C-A04BDA5C0BD5}"/>
    <dgm:cxn modelId="{00E68E47-1CF0-4649-BB47-AB6346E91D33}" type="presOf" srcId="{6A55ECD7-E849-4BEF-9B34-AB03CB0636E1}" destId="{17095B2D-082B-46A5-8D66-B0DB7402E6F4}" srcOrd="0" destOrd="1" presId="urn:microsoft.com/office/officeart/2005/8/layout/list1"/>
    <dgm:cxn modelId="{334C265B-0A66-4780-96DE-BB4F4AF2DFB3}" type="presOf" srcId="{3F5202BD-5D3D-4A4F-907B-057CC31969EA}" destId="{AF2AA73F-76E2-4062-874C-EB98C2D96ADF}" srcOrd="0" destOrd="0" presId="urn:microsoft.com/office/officeart/2005/8/layout/list1"/>
    <dgm:cxn modelId="{8A23769A-179E-4ACA-9AEE-8594DE0A4963}" type="presOf" srcId="{921E7D0B-B32E-4136-8879-DC38BA8CCACF}" destId="{0C3F0B5A-4126-46CB-AD1C-2F2DCAD7B7C7}" srcOrd="0" destOrd="0" presId="urn:microsoft.com/office/officeart/2005/8/layout/list1"/>
    <dgm:cxn modelId="{A2AD0ECA-1297-49B5-B04E-E4A317212A6F}" type="presOf" srcId="{3F5202BD-5D3D-4A4F-907B-057CC31969EA}" destId="{F313DEB3-AF09-4FD4-A59E-AC2A587AB7B2}" srcOrd="1" destOrd="0" presId="urn:microsoft.com/office/officeart/2005/8/layout/list1"/>
    <dgm:cxn modelId="{82908C19-BF36-4447-97B2-77E898F65A5B}" srcId="{3F5202BD-5D3D-4A4F-907B-057CC31969EA}" destId="{70B24117-EF6B-4F65-8AEE-4CDB69224ACD}" srcOrd="2" destOrd="0" parTransId="{1A58500F-CEDB-4157-9BD6-FCAB574DF309}" sibTransId="{83544964-A39A-4C1B-A78D-7E2EBA433F96}"/>
    <dgm:cxn modelId="{835B1254-C43A-4987-9182-BEED4E460725}" srcId="{3F5202BD-5D3D-4A4F-907B-057CC31969EA}" destId="{B6D53F0B-63BC-4C95-9781-B36F73BE47F9}" srcOrd="0" destOrd="0" parTransId="{0996E170-2BA8-4DFE-945E-084CC01AD503}" sibTransId="{85F82E60-6C68-4A80-A3EA-E27F97C10C94}"/>
    <dgm:cxn modelId="{3A5C99E1-5876-43B1-ADD7-BD85896FB7FC}" type="presOf" srcId="{B6D53F0B-63BC-4C95-9781-B36F73BE47F9}" destId="{17095B2D-082B-46A5-8D66-B0DB7402E6F4}" srcOrd="0" destOrd="0" presId="urn:microsoft.com/office/officeart/2005/8/layout/list1"/>
    <dgm:cxn modelId="{739F4525-AC68-470F-A487-A075F43B643C}" srcId="{921E7D0B-B32E-4136-8879-DC38BA8CCACF}" destId="{3F5202BD-5D3D-4A4F-907B-057CC31969EA}" srcOrd="0" destOrd="0" parTransId="{4A23E6B1-4102-4E31-BAD2-3EBD030A846A}" sibTransId="{D17CAC80-1348-4755-9A82-DEA92BC1B4AA}"/>
    <dgm:cxn modelId="{BBCB45E1-0149-4117-9ABA-B198ECAFDDA0}" type="presOf" srcId="{70B24117-EF6B-4F65-8AEE-4CDB69224ACD}" destId="{17095B2D-082B-46A5-8D66-B0DB7402E6F4}" srcOrd="0" destOrd="2" presId="urn:microsoft.com/office/officeart/2005/8/layout/list1"/>
    <dgm:cxn modelId="{BA0147F1-8C87-4008-9ADF-715670E6DBD7}" type="presParOf" srcId="{0C3F0B5A-4126-46CB-AD1C-2F2DCAD7B7C7}" destId="{57837154-635D-4340-A9E6-005CAB077C5F}" srcOrd="0" destOrd="0" presId="urn:microsoft.com/office/officeart/2005/8/layout/list1"/>
    <dgm:cxn modelId="{46B2D632-D296-4BB8-B630-A9FF238A598B}" type="presParOf" srcId="{57837154-635D-4340-A9E6-005CAB077C5F}" destId="{AF2AA73F-76E2-4062-874C-EB98C2D96ADF}" srcOrd="0" destOrd="0" presId="urn:microsoft.com/office/officeart/2005/8/layout/list1"/>
    <dgm:cxn modelId="{D04604D1-5BC9-41DE-B643-4C3370C6D38D}" type="presParOf" srcId="{57837154-635D-4340-A9E6-005CAB077C5F}" destId="{F313DEB3-AF09-4FD4-A59E-AC2A587AB7B2}" srcOrd="1" destOrd="0" presId="urn:microsoft.com/office/officeart/2005/8/layout/list1"/>
    <dgm:cxn modelId="{F71C23D5-D424-4ADE-A10D-53CCC48B235C}" type="presParOf" srcId="{0C3F0B5A-4126-46CB-AD1C-2F2DCAD7B7C7}" destId="{E6648B50-F68B-468F-B0F5-13FE2693C5CB}" srcOrd="1" destOrd="0" presId="urn:microsoft.com/office/officeart/2005/8/layout/list1"/>
    <dgm:cxn modelId="{9B26FAFD-3844-47B4-A380-B529556E795D}" type="presParOf" srcId="{0C3F0B5A-4126-46CB-AD1C-2F2DCAD7B7C7}" destId="{17095B2D-082B-46A5-8D66-B0DB7402E6F4}" srcOrd="2" destOrd="0" presId="urn:microsoft.com/office/officeart/2005/8/layout/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9FD687C-8C76-4973-9AB1-AE4CA1A7A740}" type="doc">
      <dgm:prSet loTypeId="urn:microsoft.com/office/officeart/2008/layout/LinedList" loCatId="list" qsTypeId="urn:microsoft.com/office/officeart/2005/8/quickstyle/simple1" qsCatId="simple" csTypeId="urn:microsoft.com/office/officeart/2005/8/colors/colorful4" csCatId="colorful" phldr="1"/>
      <dgm:spPr/>
      <dgm:t>
        <a:bodyPr/>
        <a:lstStyle/>
        <a:p>
          <a:endParaRPr lang="en-US"/>
        </a:p>
      </dgm:t>
    </dgm:pt>
    <dgm:pt modelId="{A4F32393-084C-4EB8-B380-6EC127B013F8}">
      <dgm:prSet phldrT="[Text]" custT="1"/>
      <dgm:spPr/>
      <dgm:t>
        <a:bodyPr/>
        <a:lstStyle/>
        <a:p>
          <a:r>
            <a:rPr lang="en-US" sz="1800" dirty="0">
              <a:solidFill>
                <a:schemeClr val="accent1"/>
              </a:solidFill>
            </a:rPr>
            <a:t>Burnout affects interpersonal skills, job performance, career satisfaction, psychological health, and communication.</a:t>
          </a:r>
        </a:p>
      </dgm:t>
    </dgm:pt>
    <dgm:pt modelId="{28BDA6F5-49D7-40C7-BD1E-F7D913A8B86C}" type="parTrans" cxnId="{0C03ACE0-7332-47BD-B4CE-59DF5FD76FAB}">
      <dgm:prSet/>
      <dgm:spPr/>
      <dgm:t>
        <a:bodyPr/>
        <a:lstStyle/>
        <a:p>
          <a:endParaRPr lang="en-US" sz="1800">
            <a:solidFill>
              <a:schemeClr val="accent1"/>
            </a:solidFill>
          </a:endParaRPr>
        </a:p>
      </dgm:t>
    </dgm:pt>
    <dgm:pt modelId="{144B128C-6AB2-42FA-AD2A-858FC6BF221D}" type="sibTrans" cxnId="{0C03ACE0-7332-47BD-B4CE-59DF5FD76FAB}">
      <dgm:prSet/>
      <dgm:spPr/>
      <dgm:t>
        <a:bodyPr/>
        <a:lstStyle/>
        <a:p>
          <a:endParaRPr lang="en-US" sz="1800">
            <a:solidFill>
              <a:schemeClr val="accent1"/>
            </a:solidFill>
          </a:endParaRPr>
        </a:p>
      </dgm:t>
    </dgm:pt>
    <dgm:pt modelId="{4F8921F3-1651-41B1-ABE4-8C0837E06BF6}">
      <dgm:prSet custT="1"/>
      <dgm:spPr/>
      <dgm:t>
        <a:bodyPr/>
        <a:lstStyle/>
        <a:p>
          <a:r>
            <a:rPr lang="en-US" sz="1800" dirty="0">
              <a:solidFill>
                <a:schemeClr val="accent1"/>
              </a:solidFill>
            </a:rPr>
            <a:t>Burnout, workload, and COVID-19-related stresses were associated with intent to reduce hours or leave.</a:t>
          </a:r>
        </a:p>
      </dgm:t>
    </dgm:pt>
    <dgm:pt modelId="{A246CF71-E787-4448-8D5B-CBB17433DCCB}" type="parTrans" cxnId="{997C35D5-ED98-4F88-899E-25750735FCD0}">
      <dgm:prSet/>
      <dgm:spPr/>
      <dgm:t>
        <a:bodyPr/>
        <a:lstStyle/>
        <a:p>
          <a:endParaRPr lang="en-US" sz="1800">
            <a:solidFill>
              <a:schemeClr val="accent1"/>
            </a:solidFill>
          </a:endParaRPr>
        </a:p>
      </dgm:t>
    </dgm:pt>
    <dgm:pt modelId="{21BA9D35-A8BB-459B-A184-5BA99EBE52B1}" type="sibTrans" cxnId="{997C35D5-ED98-4F88-899E-25750735FCD0}">
      <dgm:prSet/>
      <dgm:spPr/>
      <dgm:t>
        <a:bodyPr/>
        <a:lstStyle/>
        <a:p>
          <a:endParaRPr lang="en-US" sz="1800">
            <a:solidFill>
              <a:schemeClr val="accent1"/>
            </a:solidFill>
          </a:endParaRPr>
        </a:p>
      </dgm:t>
    </dgm:pt>
    <dgm:pt modelId="{5EF22468-D6FF-43BD-B297-7BA497F10139}">
      <dgm:prSet custT="1"/>
      <dgm:spPr/>
      <dgm:t>
        <a:bodyPr/>
        <a:lstStyle/>
        <a:p>
          <a:r>
            <a:rPr lang="en-US" sz="1800" dirty="0">
              <a:solidFill>
                <a:schemeClr val="accent1"/>
              </a:solidFill>
            </a:rPr>
            <a:t>Approximately 1 in 3 physicians, APPs, and nurses surveyed intend to reduce work hours.</a:t>
          </a:r>
        </a:p>
      </dgm:t>
    </dgm:pt>
    <dgm:pt modelId="{D9373675-BCEF-4A30-8369-05CD88DA8721}" type="parTrans" cxnId="{0D64BD52-5095-46B0-A2FE-DC46F941A061}">
      <dgm:prSet/>
      <dgm:spPr/>
      <dgm:t>
        <a:bodyPr/>
        <a:lstStyle/>
        <a:p>
          <a:endParaRPr lang="en-US" sz="1800">
            <a:solidFill>
              <a:schemeClr val="accent1"/>
            </a:solidFill>
          </a:endParaRPr>
        </a:p>
      </dgm:t>
    </dgm:pt>
    <dgm:pt modelId="{25E6BFC0-CDBB-48F5-9B68-2FB579BDCE91}" type="sibTrans" cxnId="{0D64BD52-5095-46B0-A2FE-DC46F941A061}">
      <dgm:prSet/>
      <dgm:spPr/>
      <dgm:t>
        <a:bodyPr/>
        <a:lstStyle/>
        <a:p>
          <a:endParaRPr lang="en-US" sz="1800">
            <a:solidFill>
              <a:schemeClr val="accent1"/>
            </a:solidFill>
          </a:endParaRPr>
        </a:p>
      </dgm:t>
    </dgm:pt>
    <dgm:pt modelId="{97A365F9-82FC-48F6-BE63-811F4F16A558}">
      <dgm:prSet custT="1"/>
      <dgm:spPr/>
      <dgm:t>
        <a:bodyPr/>
        <a:lstStyle/>
        <a:p>
          <a:r>
            <a:rPr lang="en-US" sz="1800" dirty="0">
              <a:solidFill>
                <a:schemeClr val="accent1"/>
              </a:solidFill>
            </a:rPr>
            <a:t>1 in 5 physicians and 2 in 5 nurses intend to leave their practice altogether. </a:t>
          </a:r>
        </a:p>
      </dgm:t>
    </dgm:pt>
    <dgm:pt modelId="{89014533-0DF1-44E3-83D7-B5C4D80532EF}" type="parTrans" cxnId="{E445B7EF-6392-4C46-9491-30CA3ADBD079}">
      <dgm:prSet/>
      <dgm:spPr/>
      <dgm:t>
        <a:bodyPr/>
        <a:lstStyle/>
        <a:p>
          <a:endParaRPr lang="en-US" sz="1800">
            <a:solidFill>
              <a:schemeClr val="accent1"/>
            </a:solidFill>
          </a:endParaRPr>
        </a:p>
      </dgm:t>
    </dgm:pt>
    <dgm:pt modelId="{24C16B51-B730-419E-8977-D5270A80786D}" type="sibTrans" cxnId="{E445B7EF-6392-4C46-9491-30CA3ADBD079}">
      <dgm:prSet/>
      <dgm:spPr/>
      <dgm:t>
        <a:bodyPr/>
        <a:lstStyle/>
        <a:p>
          <a:endParaRPr lang="en-US" sz="1800">
            <a:solidFill>
              <a:schemeClr val="accent1"/>
            </a:solidFill>
          </a:endParaRPr>
        </a:p>
      </dgm:t>
    </dgm:pt>
    <dgm:pt modelId="{8E425A13-41F9-40D1-BDC3-7876EB2176E2}">
      <dgm:prSet custT="1"/>
      <dgm:spPr/>
      <dgm:t>
        <a:bodyPr/>
        <a:lstStyle/>
        <a:p>
          <a:r>
            <a:rPr lang="en-US" sz="1800" dirty="0">
              <a:solidFill>
                <a:schemeClr val="accent1"/>
              </a:solidFill>
            </a:rPr>
            <a:t>Burnout also contributes to medical errors and poor communication, both of which increase the risk of malpractice.</a:t>
          </a:r>
        </a:p>
      </dgm:t>
    </dgm:pt>
    <dgm:pt modelId="{4DA5DE9B-C711-4B8F-92B1-6952124FAC44}" type="parTrans" cxnId="{13D3A8A7-79D8-4A4C-8B65-B6AA778CDDE2}">
      <dgm:prSet/>
      <dgm:spPr/>
      <dgm:t>
        <a:bodyPr/>
        <a:lstStyle/>
        <a:p>
          <a:endParaRPr lang="en-US" sz="1800">
            <a:solidFill>
              <a:schemeClr val="accent1"/>
            </a:solidFill>
          </a:endParaRPr>
        </a:p>
      </dgm:t>
    </dgm:pt>
    <dgm:pt modelId="{7109C400-BAE2-4E0E-863A-61EFF82958A5}" type="sibTrans" cxnId="{13D3A8A7-79D8-4A4C-8B65-B6AA778CDDE2}">
      <dgm:prSet/>
      <dgm:spPr/>
      <dgm:t>
        <a:bodyPr/>
        <a:lstStyle/>
        <a:p>
          <a:endParaRPr lang="en-US" sz="1800">
            <a:solidFill>
              <a:schemeClr val="accent1"/>
            </a:solidFill>
          </a:endParaRPr>
        </a:p>
      </dgm:t>
    </dgm:pt>
    <dgm:pt modelId="{11FF77C9-A735-4DDE-9160-7F2C6F3609ED}">
      <dgm:prSet custT="1"/>
      <dgm:spPr/>
      <dgm:t>
        <a:bodyPr/>
        <a:lstStyle/>
        <a:p>
          <a:r>
            <a:rPr lang="en-US" sz="1800" dirty="0">
              <a:solidFill>
                <a:schemeClr val="accent1"/>
              </a:solidFill>
            </a:rPr>
            <a:t>Reducing burnout and improving a sense of feeling valued may allow healthcare organizations to better maintain their workforces after the pandemic.</a:t>
          </a:r>
        </a:p>
      </dgm:t>
    </dgm:pt>
    <dgm:pt modelId="{02106A69-0A39-4CC8-AFEE-32B5F4C95EA4}" type="parTrans" cxnId="{3BEF1311-2201-437D-B8ED-2CF7F7332214}">
      <dgm:prSet/>
      <dgm:spPr/>
      <dgm:t>
        <a:bodyPr/>
        <a:lstStyle/>
        <a:p>
          <a:endParaRPr lang="en-US" sz="1800">
            <a:solidFill>
              <a:schemeClr val="accent1"/>
            </a:solidFill>
          </a:endParaRPr>
        </a:p>
      </dgm:t>
    </dgm:pt>
    <dgm:pt modelId="{6149AC47-A306-4A9C-8D4A-093529D3D86F}" type="sibTrans" cxnId="{3BEF1311-2201-437D-B8ED-2CF7F7332214}">
      <dgm:prSet/>
      <dgm:spPr/>
      <dgm:t>
        <a:bodyPr/>
        <a:lstStyle/>
        <a:p>
          <a:endParaRPr lang="en-US" sz="1800">
            <a:solidFill>
              <a:schemeClr val="accent1"/>
            </a:solidFill>
          </a:endParaRPr>
        </a:p>
      </dgm:t>
    </dgm:pt>
    <dgm:pt modelId="{2DD1A696-F64E-4790-9F8F-D7623CDC3198}">
      <dgm:prSet custT="1"/>
      <dgm:spPr/>
      <dgm:t>
        <a:bodyPr/>
        <a:lstStyle/>
        <a:p>
          <a:r>
            <a:rPr lang="en-US" sz="1800" dirty="0">
              <a:solidFill>
                <a:schemeClr val="accent1"/>
              </a:solidFill>
            </a:rPr>
            <a:t>Soft skills training has been shown to help prevent burnout syndrome.</a:t>
          </a:r>
        </a:p>
      </dgm:t>
    </dgm:pt>
    <dgm:pt modelId="{D8223CEF-3A84-4C79-925A-1F3B45F9DC9D}" type="parTrans" cxnId="{CA444FA5-95CB-4C28-8BC3-10021E2B4BA6}">
      <dgm:prSet/>
      <dgm:spPr/>
      <dgm:t>
        <a:bodyPr/>
        <a:lstStyle/>
        <a:p>
          <a:endParaRPr lang="en-US" sz="1800">
            <a:solidFill>
              <a:schemeClr val="accent1"/>
            </a:solidFill>
          </a:endParaRPr>
        </a:p>
      </dgm:t>
    </dgm:pt>
    <dgm:pt modelId="{0504FDB3-D059-4327-8C9A-CFF9BFB55143}" type="sibTrans" cxnId="{CA444FA5-95CB-4C28-8BC3-10021E2B4BA6}">
      <dgm:prSet/>
      <dgm:spPr/>
      <dgm:t>
        <a:bodyPr/>
        <a:lstStyle/>
        <a:p>
          <a:endParaRPr lang="en-US" sz="1800">
            <a:solidFill>
              <a:schemeClr val="accent1"/>
            </a:solidFill>
          </a:endParaRPr>
        </a:p>
      </dgm:t>
    </dgm:pt>
    <dgm:pt modelId="{43A2C260-4A7E-484E-A17F-D9FF8A868598}">
      <dgm:prSet custT="1"/>
      <dgm:spPr/>
      <dgm:t>
        <a:bodyPr/>
        <a:lstStyle/>
        <a:p>
          <a:r>
            <a:rPr lang="en-US" sz="1800">
              <a:solidFill>
                <a:schemeClr val="accent1"/>
              </a:solidFill>
            </a:rPr>
            <a:t>Healthcare organizations also need early recognition programs aimed at raising awareness and coping with burnout symptoms through stress management and resilience enhancement trainings.</a:t>
          </a:r>
          <a:endParaRPr lang="en-US" sz="1800" dirty="0">
            <a:solidFill>
              <a:schemeClr val="accent1"/>
            </a:solidFill>
          </a:endParaRPr>
        </a:p>
      </dgm:t>
    </dgm:pt>
    <dgm:pt modelId="{56DAEA1F-6F17-4627-8BD5-AF4974D1A6F4}" type="parTrans" cxnId="{C8A18DB3-C632-4C05-9B6F-DA5D6901A039}">
      <dgm:prSet/>
      <dgm:spPr/>
      <dgm:t>
        <a:bodyPr/>
        <a:lstStyle/>
        <a:p>
          <a:endParaRPr lang="en-US" sz="1800">
            <a:solidFill>
              <a:schemeClr val="accent1"/>
            </a:solidFill>
          </a:endParaRPr>
        </a:p>
      </dgm:t>
    </dgm:pt>
    <dgm:pt modelId="{914C04BC-BED7-4944-94A0-3A2F361F9A58}" type="sibTrans" cxnId="{C8A18DB3-C632-4C05-9B6F-DA5D6901A039}">
      <dgm:prSet/>
      <dgm:spPr/>
      <dgm:t>
        <a:bodyPr/>
        <a:lstStyle/>
        <a:p>
          <a:endParaRPr lang="en-US" sz="1800">
            <a:solidFill>
              <a:schemeClr val="accent1"/>
            </a:solidFill>
          </a:endParaRPr>
        </a:p>
      </dgm:t>
    </dgm:pt>
    <dgm:pt modelId="{A95C2A10-0C9F-4DBA-A391-244F316BF4DD}" type="pres">
      <dgm:prSet presAssocID="{B9FD687C-8C76-4973-9AB1-AE4CA1A7A740}" presName="vert0" presStyleCnt="0">
        <dgm:presLayoutVars>
          <dgm:dir/>
          <dgm:animOne val="branch"/>
          <dgm:animLvl val="lvl"/>
        </dgm:presLayoutVars>
      </dgm:prSet>
      <dgm:spPr/>
      <dgm:t>
        <a:bodyPr/>
        <a:lstStyle/>
        <a:p>
          <a:endParaRPr lang="en-US"/>
        </a:p>
      </dgm:t>
    </dgm:pt>
    <dgm:pt modelId="{F149C6A6-8184-4F91-ADB7-86B66274E403}" type="pres">
      <dgm:prSet presAssocID="{A4F32393-084C-4EB8-B380-6EC127B013F8}" presName="thickLine" presStyleLbl="alignNode1" presStyleIdx="0" presStyleCnt="8"/>
      <dgm:spPr/>
    </dgm:pt>
    <dgm:pt modelId="{D8109120-EB7A-4FE9-856B-A29B488FD323}" type="pres">
      <dgm:prSet presAssocID="{A4F32393-084C-4EB8-B380-6EC127B013F8}" presName="horz1" presStyleCnt="0"/>
      <dgm:spPr/>
    </dgm:pt>
    <dgm:pt modelId="{971E5498-FB98-4D4A-A8E9-6B62B9577C8B}" type="pres">
      <dgm:prSet presAssocID="{A4F32393-084C-4EB8-B380-6EC127B013F8}" presName="tx1" presStyleLbl="revTx" presStyleIdx="0" presStyleCnt="8"/>
      <dgm:spPr/>
      <dgm:t>
        <a:bodyPr/>
        <a:lstStyle/>
        <a:p>
          <a:endParaRPr lang="en-US"/>
        </a:p>
      </dgm:t>
    </dgm:pt>
    <dgm:pt modelId="{DA665012-76E7-4E95-BB50-0BA4D75F51FF}" type="pres">
      <dgm:prSet presAssocID="{A4F32393-084C-4EB8-B380-6EC127B013F8}" presName="vert1" presStyleCnt="0"/>
      <dgm:spPr/>
    </dgm:pt>
    <dgm:pt modelId="{E37BB754-FEC1-4F5F-908C-1FB94C6B3DE8}" type="pres">
      <dgm:prSet presAssocID="{4F8921F3-1651-41B1-ABE4-8C0837E06BF6}" presName="thickLine" presStyleLbl="alignNode1" presStyleIdx="1" presStyleCnt="8"/>
      <dgm:spPr/>
    </dgm:pt>
    <dgm:pt modelId="{4BE52AA0-2AA3-4682-A550-133A7AD29247}" type="pres">
      <dgm:prSet presAssocID="{4F8921F3-1651-41B1-ABE4-8C0837E06BF6}" presName="horz1" presStyleCnt="0"/>
      <dgm:spPr/>
    </dgm:pt>
    <dgm:pt modelId="{E6BA37A6-80A5-4B39-BE78-0DD61A8039D7}" type="pres">
      <dgm:prSet presAssocID="{4F8921F3-1651-41B1-ABE4-8C0837E06BF6}" presName="tx1" presStyleLbl="revTx" presStyleIdx="1" presStyleCnt="8" custScaleY="80459"/>
      <dgm:spPr/>
      <dgm:t>
        <a:bodyPr/>
        <a:lstStyle/>
        <a:p>
          <a:endParaRPr lang="en-US"/>
        </a:p>
      </dgm:t>
    </dgm:pt>
    <dgm:pt modelId="{FC876E3C-DA53-46AC-9AAE-FF84A77107C6}" type="pres">
      <dgm:prSet presAssocID="{4F8921F3-1651-41B1-ABE4-8C0837E06BF6}" presName="vert1" presStyleCnt="0"/>
      <dgm:spPr/>
    </dgm:pt>
    <dgm:pt modelId="{51A057C4-A4A9-4AC3-B74B-88A76112FFFD}" type="pres">
      <dgm:prSet presAssocID="{5EF22468-D6FF-43BD-B297-7BA497F10139}" presName="thickLine" presStyleLbl="alignNode1" presStyleIdx="2" presStyleCnt="8"/>
      <dgm:spPr/>
    </dgm:pt>
    <dgm:pt modelId="{98EBD10B-932F-4255-8EA4-008F2E5372E7}" type="pres">
      <dgm:prSet presAssocID="{5EF22468-D6FF-43BD-B297-7BA497F10139}" presName="horz1" presStyleCnt="0"/>
      <dgm:spPr/>
    </dgm:pt>
    <dgm:pt modelId="{90A0F8D3-4E89-4317-A4DE-F7B151B87DCD}" type="pres">
      <dgm:prSet presAssocID="{5EF22468-D6FF-43BD-B297-7BA497F10139}" presName="tx1" presStyleLbl="revTx" presStyleIdx="2" presStyleCnt="8" custScaleY="89143"/>
      <dgm:spPr/>
      <dgm:t>
        <a:bodyPr/>
        <a:lstStyle/>
        <a:p>
          <a:endParaRPr lang="en-US"/>
        </a:p>
      </dgm:t>
    </dgm:pt>
    <dgm:pt modelId="{F9D8DECD-A090-4C43-AE25-ADC9E8846DCB}" type="pres">
      <dgm:prSet presAssocID="{5EF22468-D6FF-43BD-B297-7BA497F10139}" presName="vert1" presStyleCnt="0"/>
      <dgm:spPr/>
    </dgm:pt>
    <dgm:pt modelId="{73AEE4A5-B004-4818-A81F-51180C5DF739}" type="pres">
      <dgm:prSet presAssocID="{97A365F9-82FC-48F6-BE63-811F4F16A558}" presName="thickLine" presStyleLbl="alignNode1" presStyleIdx="3" presStyleCnt="8"/>
      <dgm:spPr/>
    </dgm:pt>
    <dgm:pt modelId="{96015E6D-3E4B-468D-8967-8C201CF0A9A6}" type="pres">
      <dgm:prSet presAssocID="{97A365F9-82FC-48F6-BE63-811F4F16A558}" presName="horz1" presStyleCnt="0"/>
      <dgm:spPr/>
    </dgm:pt>
    <dgm:pt modelId="{79EBF6F4-5516-419F-8A75-5370AF78D5C0}" type="pres">
      <dgm:prSet presAssocID="{97A365F9-82FC-48F6-BE63-811F4F16A558}" presName="tx1" presStyleLbl="revTx" presStyleIdx="3" presStyleCnt="8" custScaleY="76720"/>
      <dgm:spPr/>
      <dgm:t>
        <a:bodyPr/>
        <a:lstStyle/>
        <a:p>
          <a:endParaRPr lang="en-US"/>
        </a:p>
      </dgm:t>
    </dgm:pt>
    <dgm:pt modelId="{337DC1F1-0354-4B88-9214-0D9A3EE3B105}" type="pres">
      <dgm:prSet presAssocID="{97A365F9-82FC-48F6-BE63-811F4F16A558}" presName="vert1" presStyleCnt="0"/>
      <dgm:spPr/>
    </dgm:pt>
    <dgm:pt modelId="{BEFB0F6D-4365-4F98-83FA-7F95329C4E1E}" type="pres">
      <dgm:prSet presAssocID="{8E425A13-41F9-40D1-BDC3-7876EB2176E2}" presName="thickLine" presStyleLbl="alignNode1" presStyleIdx="4" presStyleCnt="8"/>
      <dgm:spPr/>
    </dgm:pt>
    <dgm:pt modelId="{5AD53218-6C82-40F6-84E2-76433BCF354E}" type="pres">
      <dgm:prSet presAssocID="{8E425A13-41F9-40D1-BDC3-7876EB2176E2}" presName="horz1" presStyleCnt="0"/>
      <dgm:spPr/>
    </dgm:pt>
    <dgm:pt modelId="{B5E50A95-3D5E-424E-8A3B-038780F8F153}" type="pres">
      <dgm:prSet presAssocID="{8E425A13-41F9-40D1-BDC3-7876EB2176E2}" presName="tx1" presStyleLbl="revTx" presStyleIdx="4" presStyleCnt="8"/>
      <dgm:spPr/>
      <dgm:t>
        <a:bodyPr/>
        <a:lstStyle/>
        <a:p>
          <a:endParaRPr lang="en-US"/>
        </a:p>
      </dgm:t>
    </dgm:pt>
    <dgm:pt modelId="{6586B742-3144-47FE-B127-934031B6EFB3}" type="pres">
      <dgm:prSet presAssocID="{8E425A13-41F9-40D1-BDC3-7876EB2176E2}" presName="vert1" presStyleCnt="0"/>
      <dgm:spPr/>
    </dgm:pt>
    <dgm:pt modelId="{831AA036-98E9-4095-A88D-5A66F9E49B97}" type="pres">
      <dgm:prSet presAssocID="{11FF77C9-A735-4DDE-9160-7F2C6F3609ED}" presName="thickLine" presStyleLbl="alignNode1" presStyleIdx="5" presStyleCnt="8"/>
      <dgm:spPr/>
    </dgm:pt>
    <dgm:pt modelId="{D3B276B6-F687-4704-AEE0-98427C363018}" type="pres">
      <dgm:prSet presAssocID="{11FF77C9-A735-4DDE-9160-7F2C6F3609ED}" presName="horz1" presStyleCnt="0"/>
      <dgm:spPr/>
    </dgm:pt>
    <dgm:pt modelId="{B66F871F-2768-4845-86D8-D9268250E0C2}" type="pres">
      <dgm:prSet presAssocID="{11FF77C9-A735-4DDE-9160-7F2C6F3609ED}" presName="tx1" presStyleLbl="revTx" presStyleIdx="5" presStyleCnt="8"/>
      <dgm:spPr/>
      <dgm:t>
        <a:bodyPr/>
        <a:lstStyle/>
        <a:p>
          <a:endParaRPr lang="en-US"/>
        </a:p>
      </dgm:t>
    </dgm:pt>
    <dgm:pt modelId="{F56268B5-05D5-4309-8B97-EC6DA23E48CE}" type="pres">
      <dgm:prSet presAssocID="{11FF77C9-A735-4DDE-9160-7F2C6F3609ED}" presName="vert1" presStyleCnt="0"/>
      <dgm:spPr/>
    </dgm:pt>
    <dgm:pt modelId="{2A47D5A6-ADC8-4377-9E79-E00EFB712C0A}" type="pres">
      <dgm:prSet presAssocID="{2DD1A696-F64E-4790-9F8F-D7623CDC3198}" presName="thickLine" presStyleLbl="alignNode1" presStyleIdx="6" presStyleCnt="8"/>
      <dgm:spPr/>
    </dgm:pt>
    <dgm:pt modelId="{7DC2330B-A163-4BDA-8487-A995C0D90E7C}" type="pres">
      <dgm:prSet presAssocID="{2DD1A696-F64E-4790-9F8F-D7623CDC3198}" presName="horz1" presStyleCnt="0"/>
      <dgm:spPr/>
    </dgm:pt>
    <dgm:pt modelId="{0C6D359F-578D-4501-9F0E-BEB184C04D60}" type="pres">
      <dgm:prSet presAssocID="{2DD1A696-F64E-4790-9F8F-D7623CDC3198}" presName="tx1" presStyleLbl="revTx" presStyleIdx="6" presStyleCnt="8" custScaleY="75541"/>
      <dgm:spPr/>
      <dgm:t>
        <a:bodyPr/>
        <a:lstStyle/>
        <a:p>
          <a:endParaRPr lang="en-US"/>
        </a:p>
      </dgm:t>
    </dgm:pt>
    <dgm:pt modelId="{E9FD940A-C5B7-4137-A732-1F193B057EC0}" type="pres">
      <dgm:prSet presAssocID="{2DD1A696-F64E-4790-9F8F-D7623CDC3198}" presName="vert1" presStyleCnt="0"/>
      <dgm:spPr/>
    </dgm:pt>
    <dgm:pt modelId="{822C775B-AA35-478E-B4C7-57745E59C90C}" type="pres">
      <dgm:prSet presAssocID="{43A2C260-4A7E-484E-A17F-D9FF8A868598}" presName="thickLine" presStyleLbl="alignNode1" presStyleIdx="7" presStyleCnt="8"/>
      <dgm:spPr/>
    </dgm:pt>
    <dgm:pt modelId="{30B8C07F-55B0-4824-AD2F-087D0D2B9059}" type="pres">
      <dgm:prSet presAssocID="{43A2C260-4A7E-484E-A17F-D9FF8A868598}" presName="horz1" presStyleCnt="0"/>
      <dgm:spPr/>
    </dgm:pt>
    <dgm:pt modelId="{FFE9FFC9-DEE4-47B1-8E30-8068D67516AD}" type="pres">
      <dgm:prSet presAssocID="{43A2C260-4A7E-484E-A17F-D9FF8A868598}" presName="tx1" presStyleLbl="revTx" presStyleIdx="7" presStyleCnt="8"/>
      <dgm:spPr/>
      <dgm:t>
        <a:bodyPr/>
        <a:lstStyle/>
        <a:p>
          <a:endParaRPr lang="en-US"/>
        </a:p>
      </dgm:t>
    </dgm:pt>
    <dgm:pt modelId="{68D5631A-289C-43DF-AB8C-96DC2D859B80}" type="pres">
      <dgm:prSet presAssocID="{43A2C260-4A7E-484E-A17F-D9FF8A868598}" presName="vert1" presStyleCnt="0"/>
      <dgm:spPr/>
    </dgm:pt>
  </dgm:ptLst>
  <dgm:cxnLst>
    <dgm:cxn modelId="{71494D45-267A-4B28-B9DA-952E35E5187C}" type="presOf" srcId="{A4F32393-084C-4EB8-B380-6EC127B013F8}" destId="{971E5498-FB98-4D4A-A8E9-6B62B9577C8B}" srcOrd="0" destOrd="0" presId="urn:microsoft.com/office/officeart/2008/layout/LinedList"/>
    <dgm:cxn modelId="{3BEF1311-2201-437D-B8ED-2CF7F7332214}" srcId="{B9FD687C-8C76-4973-9AB1-AE4CA1A7A740}" destId="{11FF77C9-A735-4DDE-9160-7F2C6F3609ED}" srcOrd="5" destOrd="0" parTransId="{02106A69-0A39-4CC8-AFEE-32B5F4C95EA4}" sibTransId="{6149AC47-A306-4A9C-8D4A-093529D3D86F}"/>
    <dgm:cxn modelId="{CA444FA5-95CB-4C28-8BC3-10021E2B4BA6}" srcId="{B9FD687C-8C76-4973-9AB1-AE4CA1A7A740}" destId="{2DD1A696-F64E-4790-9F8F-D7623CDC3198}" srcOrd="6" destOrd="0" parTransId="{D8223CEF-3A84-4C79-925A-1F3B45F9DC9D}" sibTransId="{0504FDB3-D059-4327-8C9A-CFF9BFB55143}"/>
    <dgm:cxn modelId="{C8A18DB3-C632-4C05-9B6F-DA5D6901A039}" srcId="{B9FD687C-8C76-4973-9AB1-AE4CA1A7A740}" destId="{43A2C260-4A7E-484E-A17F-D9FF8A868598}" srcOrd="7" destOrd="0" parTransId="{56DAEA1F-6F17-4627-8BD5-AF4974D1A6F4}" sibTransId="{914C04BC-BED7-4944-94A0-3A2F361F9A58}"/>
    <dgm:cxn modelId="{A503CC32-E1E2-4FD7-94A4-C216FBA8AA85}" type="presOf" srcId="{11FF77C9-A735-4DDE-9160-7F2C6F3609ED}" destId="{B66F871F-2768-4845-86D8-D9268250E0C2}" srcOrd="0" destOrd="0" presId="urn:microsoft.com/office/officeart/2008/layout/LinedList"/>
    <dgm:cxn modelId="{67C85740-357E-4A00-8DB9-93926876B1B9}" type="presOf" srcId="{4F8921F3-1651-41B1-ABE4-8C0837E06BF6}" destId="{E6BA37A6-80A5-4B39-BE78-0DD61A8039D7}" srcOrd="0" destOrd="0" presId="urn:microsoft.com/office/officeart/2008/layout/LinedList"/>
    <dgm:cxn modelId="{0C03ACE0-7332-47BD-B4CE-59DF5FD76FAB}" srcId="{B9FD687C-8C76-4973-9AB1-AE4CA1A7A740}" destId="{A4F32393-084C-4EB8-B380-6EC127B013F8}" srcOrd="0" destOrd="0" parTransId="{28BDA6F5-49D7-40C7-BD1E-F7D913A8B86C}" sibTransId="{144B128C-6AB2-42FA-AD2A-858FC6BF221D}"/>
    <dgm:cxn modelId="{997C35D5-ED98-4F88-899E-25750735FCD0}" srcId="{B9FD687C-8C76-4973-9AB1-AE4CA1A7A740}" destId="{4F8921F3-1651-41B1-ABE4-8C0837E06BF6}" srcOrd="1" destOrd="0" parTransId="{A246CF71-E787-4448-8D5B-CBB17433DCCB}" sibTransId="{21BA9D35-A8BB-459B-A184-5BA99EBE52B1}"/>
    <dgm:cxn modelId="{08C83C02-2BDC-4975-BA26-577B5B50BC58}" type="presOf" srcId="{2DD1A696-F64E-4790-9F8F-D7623CDC3198}" destId="{0C6D359F-578D-4501-9F0E-BEB184C04D60}" srcOrd="0" destOrd="0" presId="urn:microsoft.com/office/officeart/2008/layout/LinedList"/>
    <dgm:cxn modelId="{E445B7EF-6392-4C46-9491-30CA3ADBD079}" srcId="{B9FD687C-8C76-4973-9AB1-AE4CA1A7A740}" destId="{97A365F9-82FC-48F6-BE63-811F4F16A558}" srcOrd="3" destOrd="0" parTransId="{89014533-0DF1-44E3-83D7-B5C4D80532EF}" sibTransId="{24C16B51-B730-419E-8977-D5270A80786D}"/>
    <dgm:cxn modelId="{52760874-B1A4-426E-85DE-93B4AA545AA6}" type="presOf" srcId="{8E425A13-41F9-40D1-BDC3-7876EB2176E2}" destId="{B5E50A95-3D5E-424E-8A3B-038780F8F153}" srcOrd="0" destOrd="0" presId="urn:microsoft.com/office/officeart/2008/layout/LinedList"/>
    <dgm:cxn modelId="{0D64BD52-5095-46B0-A2FE-DC46F941A061}" srcId="{B9FD687C-8C76-4973-9AB1-AE4CA1A7A740}" destId="{5EF22468-D6FF-43BD-B297-7BA497F10139}" srcOrd="2" destOrd="0" parTransId="{D9373675-BCEF-4A30-8369-05CD88DA8721}" sibTransId="{25E6BFC0-CDBB-48F5-9B68-2FB579BDCE91}"/>
    <dgm:cxn modelId="{13D3A8A7-79D8-4A4C-8B65-B6AA778CDDE2}" srcId="{B9FD687C-8C76-4973-9AB1-AE4CA1A7A740}" destId="{8E425A13-41F9-40D1-BDC3-7876EB2176E2}" srcOrd="4" destOrd="0" parTransId="{4DA5DE9B-C711-4B8F-92B1-6952124FAC44}" sibTransId="{7109C400-BAE2-4E0E-863A-61EFF82958A5}"/>
    <dgm:cxn modelId="{1E6E8CBE-E499-4CC0-B53F-530E4BADC309}" type="presOf" srcId="{97A365F9-82FC-48F6-BE63-811F4F16A558}" destId="{79EBF6F4-5516-419F-8A75-5370AF78D5C0}" srcOrd="0" destOrd="0" presId="urn:microsoft.com/office/officeart/2008/layout/LinedList"/>
    <dgm:cxn modelId="{FAC47F55-0A9B-4B5B-99A3-B28527125441}" type="presOf" srcId="{43A2C260-4A7E-484E-A17F-D9FF8A868598}" destId="{FFE9FFC9-DEE4-47B1-8E30-8068D67516AD}" srcOrd="0" destOrd="0" presId="urn:microsoft.com/office/officeart/2008/layout/LinedList"/>
    <dgm:cxn modelId="{8352EAB0-5929-49F6-B0BF-4A2FAA8039BA}" type="presOf" srcId="{5EF22468-D6FF-43BD-B297-7BA497F10139}" destId="{90A0F8D3-4E89-4317-A4DE-F7B151B87DCD}" srcOrd="0" destOrd="0" presId="urn:microsoft.com/office/officeart/2008/layout/LinedList"/>
    <dgm:cxn modelId="{54AEB208-A9A9-44AC-93C0-6E553D24D6C4}" type="presOf" srcId="{B9FD687C-8C76-4973-9AB1-AE4CA1A7A740}" destId="{A95C2A10-0C9F-4DBA-A391-244F316BF4DD}" srcOrd="0" destOrd="0" presId="urn:microsoft.com/office/officeart/2008/layout/LinedList"/>
    <dgm:cxn modelId="{1CFA97C3-E0C7-4D42-B6C2-D2133D206100}" type="presParOf" srcId="{A95C2A10-0C9F-4DBA-A391-244F316BF4DD}" destId="{F149C6A6-8184-4F91-ADB7-86B66274E403}" srcOrd="0" destOrd="0" presId="urn:microsoft.com/office/officeart/2008/layout/LinedList"/>
    <dgm:cxn modelId="{E3925472-7408-4717-A48D-400555323611}" type="presParOf" srcId="{A95C2A10-0C9F-4DBA-A391-244F316BF4DD}" destId="{D8109120-EB7A-4FE9-856B-A29B488FD323}" srcOrd="1" destOrd="0" presId="urn:microsoft.com/office/officeart/2008/layout/LinedList"/>
    <dgm:cxn modelId="{C938EC4E-BA21-4320-A34D-ABC383D011D1}" type="presParOf" srcId="{D8109120-EB7A-4FE9-856B-A29B488FD323}" destId="{971E5498-FB98-4D4A-A8E9-6B62B9577C8B}" srcOrd="0" destOrd="0" presId="urn:microsoft.com/office/officeart/2008/layout/LinedList"/>
    <dgm:cxn modelId="{F5C471E2-CC5F-4AA2-829E-3AFDA80B097F}" type="presParOf" srcId="{D8109120-EB7A-4FE9-856B-A29B488FD323}" destId="{DA665012-76E7-4E95-BB50-0BA4D75F51FF}" srcOrd="1" destOrd="0" presId="urn:microsoft.com/office/officeart/2008/layout/LinedList"/>
    <dgm:cxn modelId="{4023FDB0-A155-4591-B63E-A256C5454508}" type="presParOf" srcId="{A95C2A10-0C9F-4DBA-A391-244F316BF4DD}" destId="{E37BB754-FEC1-4F5F-908C-1FB94C6B3DE8}" srcOrd="2" destOrd="0" presId="urn:microsoft.com/office/officeart/2008/layout/LinedList"/>
    <dgm:cxn modelId="{7D9A6750-C5E5-43D5-9594-F3FA3A4B03D4}" type="presParOf" srcId="{A95C2A10-0C9F-4DBA-A391-244F316BF4DD}" destId="{4BE52AA0-2AA3-4682-A550-133A7AD29247}" srcOrd="3" destOrd="0" presId="urn:microsoft.com/office/officeart/2008/layout/LinedList"/>
    <dgm:cxn modelId="{4DB564C5-5C91-4296-BD6C-BDE2E1C15BD4}" type="presParOf" srcId="{4BE52AA0-2AA3-4682-A550-133A7AD29247}" destId="{E6BA37A6-80A5-4B39-BE78-0DD61A8039D7}" srcOrd="0" destOrd="0" presId="urn:microsoft.com/office/officeart/2008/layout/LinedList"/>
    <dgm:cxn modelId="{2100344C-48CB-4C44-8E9C-95479A8A39D8}" type="presParOf" srcId="{4BE52AA0-2AA3-4682-A550-133A7AD29247}" destId="{FC876E3C-DA53-46AC-9AAE-FF84A77107C6}" srcOrd="1" destOrd="0" presId="urn:microsoft.com/office/officeart/2008/layout/LinedList"/>
    <dgm:cxn modelId="{01CEB486-1EBF-422B-8723-222D6DA9D217}" type="presParOf" srcId="{A95C2A10-0C9F-4DBA-A391-244F316BF4DD}" destId="{51A057C4-A4A9-4AC3-B74B-88A76112FFFD}" srcOrd="4" destOrd="0" presId="urn:microsoft.com/office/officeart/2008/layout/LinedList"/>
    <dgm:cxn modelId="{71DC44DE-4772-4A6F-A270-C0B203D64D15}" type="presParOf" srcId="{A95C2A10-0C9F-4DBA-A391-244F316BF4DD}" destId="{98EBD10B-932F-4255-8EA4-008F2E5372E7}" srcOrd="5" destOrd="0" presId="urn:microsoft.com/office/officeart/2008/layout/LinedList"/>
    <dgm:cxn modelId="{CE588031-1F41-48FC-9FC3-654869FAB743}" type="presParOf" srcId="{98EBD10B-932F-4255-8EA4-008F2E5372E7}" destId="{90A0F8D3-4E89-4317-A4DE-F7B151B87DCD}" srcOrd="0" destOrd="0" presId="urn:microsoft.com/office/officeart/2008/layout/LinedList"/>
    <dgm:cxn modelId="{70B3519C-74A0-4807-8457-69A637F0D7BD}" type="presParOf" srcId="{98EBD10B-932F-4255-8EA4-008F2E5372E7}" destId="{F9D8DECD-A090-4C43-AE25-ADC9E8846DCB}" srcOrd="1" destOrd="0" presId="urn:microsoft.com/office/officeart/2008/layout/LinedList"/>
    <dgm:cxn modelId="{F07B367E-56C3-46BA-8A10-E81E3F8C713E}" type="presParOf" srcId="{A95C2A10-0C9F-4DBA-A391-244F316BF4DD}" destId="{73AEE4A5-B004-4818-A81F-51180C5DF739}" srcOrd="6" destOrd="0" presId="urn:microsoft.com/office/officeart/2008/layout/LinedList"/>
    <dgm:cxn modelId="{E47D8716-C08B-47BD-852C-843BC965EB82}" type="presParOf" srcId="{A95C2A10-0C9F-4DBA-A391-244F316BF4DD}" destId="{96015E6D-3E4B-468D-8967-8C201CF0A9A6}" srcOrd="7" destOrd="0" presId="urn:microsoft.com/office/officeart/2008/layout/LinedList"/>
    <dgm:cxn modelId="{31BF44AA-6D57-4C1D-8512-A5578A63354F}" type="presParOf" srcId="{96015E6D-3E4B-468D-8967-8C201CF0A9A6}" destId="{79EBF6F4-5516-419F-8A75-5370AF78D5C0}" srcOrd="0" destOrd="0" presId="urn:microsoft.com/office/officeart/2008/layout/LinedList"/>
    <dgm:cxn modelId="{EAB17590-825A-44AA-8728-CB209B2B8A4E}" type="presParOf" srcId="{96015E6D-3E4B-468D-8967-8C201CF0A9A6}" destId="{337DC1F1-0354-4B88-9214-0D9A3EE3B105}" srcOrd="1" destOrd="0" presId="urn:microsoft.com/office/officeart/2008/layout/LinedList"/>
    <dgm:cxn modelId="{02ECF229-97C3-45FC-A456-7FE35E8C3C83}" type="presParOf" srcId="{A95C2A10-0C9F-4DBA-A391-244F316BF4DD}" destId="{BEFB0F6D-4365-4F98-83FA-7F95329C4E1E}" srcOrd="8" destOrd="0" presId="urn:microsoft.com/office/officeart/2008/layout/LinedList"/>
    <dgm:cxn modelId="{45348BE9-E38A-47C2-83EC-69D3DB7F7EC0}" type="presParOf" srcId="{A95C2A10-0C9F-4DBA-A391-244F316BF4DD}" destId="{5AD53218-6C82-40F6-84E2-76433BCF354E}" srcOrd="9" destOrd="0" presId="urn:microsoft.com/office/officeart/2008/layout/LinedList"/>
    <dgm:cxn modelId="{44463D21-BC15-4DB5-B33D-3F79AEC8EDEB}" type="presParOf" srcId="{5AD53218-6C82-40F6-84E2-76433BCF354E}" destId="{B5E50A95-3D5E-424E-8A3B-038780F8F153}" srcOrd="0" destOrd="0" presId="urn:microsoft.com/office/officeart/2008/layout/LinedList"/>
    <dgm:cxn modelId="{A9761D79-5B7B-4691-881A-EF1CA150EDE6}" type="presParOf" srcId="{5AD53218-6C82-40F6-84E2-76433BCF354E}" destId="{6586B742-3144-47FE-B127-934031B6EFB3}" srcOrd="1" destOrd="0" presId="urn:microsoft.com/office/officeart/2008/layout/LinedList"/>
    <dgm:cxn modelId="{F49E6B37-C76D-42BF-A355-EF529B91BA72}" type="presParOf" srcId="{A95C2A10-0C9F-4DBA-A391-244F316BF4DD}" destId="{831AA036-98E9-4095-A88D-5A66F9E49B97}" srcOrd="10" destOrd="0" presId="urn:microsoft.com/office/officeart/2008/layout/LinedList"/>
    <dgm:cxn modelId="{D5BC3B0A-3635-458B-BC8E-59E07489E0CA}" type="presParOf" srcId="{A95C2A10-0C9F-4DBA-A391-244F316BF4DD}" destId="{D3B276B6-F687-4704-AEE0-98427C363018}" srcOrd="11" destOrd="0" presId="urn:microsoft.com/office/officeart/2008/layout/LinedList"/>
    <dgm:cxn modelId="{4FFEAF76-0B30-4F57-A492-133E803D0867}" type="presParOf" srcId="{D3B276B6-F687-4704-AEE0-98427C363018}" destId="{B66F871F-2768-4845-86D8-D9268250E0C2}" srcOrd="0" destOrd="0" presId="urn:microsoft.com/office/officeart/2008/layout/LinedList"/>
    <dgm:cxn modelId="{578DF8D9-64B8-4DEF-843E-967B666F350D}" type="presParOf" srcId="{D3B276B6-F687-4704-AEE0-98427C363018}" destId="{F56268B5-05D5-4309-8B97-EC6DA23E48CE}" srcOrd="1" destOrd="0" presId="urn:microsoft.com/office/officeart/2008/layout/LinedList"/>
    <dgm:cxn modelId="{4F1CA19A-169D-4E47-8ACF-82D518FBA6E2}" type="presParOf" srcId="{A95C2A10-0C9F-4DBA-A391-244F316BF4DD}" destId="{2A47D5A6-ADC8-4377-9E79-E00EFB712C0A}" srcOrd="12" destOrd="0" presId="urn:microsoft.com/office/officeart/2008/layout/LinedList"/>
    <dgm:cxn modelId="{5E743EC7-5339-4607-806F-C601DB59B149}" type="presParOf" srcId="{A95C2A10-0C9F-4DBA-A391-244F316BF4DD}" destId="{7DC2330B-A163-4BDA-8487-A995C0D90E7C}" srcOrd="13" destOrd="0" presId="urn:microsoft.com/office/officeart/2008/layout/LinedList"/>
    <dgm:cxn modelId="{DF33763B-A26C-4E20-B4B0-9E4FE44CFE23}" type="presParOf" srcId="{7DC2330B-A163-4BDA-8487-A995C0D90E7C}" destId="{0C6D359F-578D-4501-9F0E-BEB184C04D60}" srcOrd="0" destOrd="0" presId="urn:microsoft.com/office/officeart/2008/layout/LinedList"/>
    <dgm:cxn modelId="{A2B3104B-171D-40F7-B7B4-236EC25CB917}" type="presParOf" srcId="{7DC2330B-A163-4BDA-8487-A995C0D90E7C}" destId="{E9FD940A-C5B7-4137-A732-1F193B057EC0}" srcOrd="1" destOrd="0" presId="urn:microsoft.com/office/officeart/2008/layout/LinedList"/>
    <dgm:cxn modelId="{0354CD1E-8F14-45F0-B770-E96BB6F239E4}" type="presParOf" srcId="{A95C2A10-0C9F-4DBA-A391-244F316BF4DD}" destId="{822C775B-AA35-478E-B4C7-57745E59C90C}" srcOrd="14" destOrd="0" presId="urn:microsoft.com/office/officeart/2008/layout/LinedList"/>
    <dgm:cxn modelId="{BB0E5EBA-0150-4742-9A8C-F863066D58D5}" type="presParOf" srcId="{A95C2A10-0C9F-4DBA-A391-244F316BF4DD}" destId="{30B8C07F-55B0-4824-AD2F-087D0D2B9059}" srcOrd="15" destOrd="0" presId="urn:microsoft.com/office/officeart/2008/layout/LinedList"/>
    <dgm:cxn modelId="{9D0C10F6-0713-4E6A-8746-A4B4AA21C17C}" type="presParOf" srcId="{30B8C07F-55B0-4824-AD2F-087D0D2B9059}" destId="{FFE9FFC9-DEE4-47B1-8E30-8068D67516AD}" srcOrd="0" destOrd="0" presId="urn:microsoft.com/office/officeart/2008/layout/LinedList"/>
    <dgm:cxn modelId="{9E2180B7-E81F-4284-981B-ED4EA89574EF}" type="presParOf" srcId="{30B8C07F-55B0-4824-AD2F-087D0D2B9059}" destId="{68D5631A-289C-43DF-AB8C-96DC2D859B80}"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1F92779-7780-4A79-9B65-9DDE2A8A951A}"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C8507328-57A8-4C05-8D66-17B7A8280861}">
      <dgm:prSet phldrT="[Text]" custT="1"/>
      <dgm:spPr>
        <a:solidFill>
          <a:srgbClr val="002A88"/>
        </a:solidFill>
      </dgm:spPr>
      <dgm:t>
        <a:bodyPr/>
        <a:lstStyle/>
        <a:p>
          <a:pPr>
            <a:lnSpc>
              <a:spcPct val="100000"/>
            </a:lnSpc>
            <a:spcAft>
              <a:spcPts val="1200"/>
            </a:spcAft>
          </a:pPr>
          <a:r>
            <a:rPr lang="en-US" sz="2000" dirty="0"/>
            <a:t>Empathy has been shown to decrease during medical education and training.</a:t>
          </a:r>
        </a:p>
      </dgm:t>
    </dgm:pt>
    <dgm:pt modelId="{F5812A8B-5A86-480B-95C0-158D1061CB1A}" type="parTrans" cxnId="{8378C7BB-CD7B-465E-8454-48C5F50052D0}">
      <dgm:prSet/>
      <dgm:spPr/>
      <dgm:t>
        <a:bodyPr/>
        <a:lstStyle/>
        <a:p>
          <a:endParaRPr lang="en-US" sz="2000">
            <a:solidFill>
              <a:schemeClr val="accent1"/>
            </a:solidFill>
          </a:endParaRPr>
        </a:p>
      </dgm:t>
    </dgm:pt>
    <dgm:pt modelId="{F705F732-6130-41CE-9E3A-7F8E181D7B55}" type="sibTrans" cxnId="{8378C7BB-CD7B-465E-8454-48C5F50052D0}">
      <dgm:prSet/>
      <dgm:spPr/>
      <dgm:t>
        <a:bodyPr/>
        <a:lstStyle/>
        <a:p>
          <a:endParaRPr lang="en-US" sz="2000">
            <a:solidFill>
              <a:schemeClr val="accent1"/>
            </a:solidFill>
          </a:endParaRPr>
        </a:p>
      </dgm:t>
    </dgm:pt>
    <dgm:pt modelId="{FB8D123D-6AB6-4973-A4B8-1CCDF78244D1}">
      <dgm:prSet custT="1"/>
      <dgm:spPr>
        <a:solidFill>
          <a:srgbClr val="0373FF"/>
        </a:solidFill>
      </dgm:spPr>
      <dgm:t>
        <a:bodyPr/>
        <a:lstStyle/>
        <a:p>
          <a:pPr>
            <a:lnSpc>
              <a:spcPct val="100000"/>
            </a:lnSpc>
            <a:spcAft>
              <a:spcPts val="1200"/>
            </a:spcAft>
          </a:pPr>
          <a:r>
            <a:rPr lang="en-US" sz="2000"/>
            <a:t>Empathy training has been shown to improve active listening, enhance communication, and decrease burnout.</a:t>
          </a:r>
          <a:endParaRPr lang="en-US" sz="2000" dirty="0"/>
        </a:p>
      </dgm:t>
    </dgm:pt>
    <dgm:pt modelId="{D429D59A-EA34-4E94-BC04-9F0E1955D14D}" type="parTrans" cxnId="{26EEB3E4-462C-4E31-A3ED-E721B3E71F84}">
      <dgm:prSet/>
      <dgm:spPr/>
      <dgm:t>
        <a:bodyPr/>
        <a:lstStyle/>
        <a:p>
          <a:endParaRPr lang="en-US" sz="2000">
            <a:solidFill>
              <a:schemeClr val="accent1"/>
            </a:solidFill>
          </a:endParaRPr>
        </a:p>
      </dgm:t>
    </dgm:pt>
    <dgm:pt modelId="{A183AEAF-8D5E-4CD0-A4A4-E18D8294B662}" type="sibTrans" cxnId="{26EEB3E4-462C-4E31-A3ED-E721B3E71F84}">
      <dgm:prSet/>
      <dgm:spPr/>
      <dgm:t>
        <a:bodyPr/>
        <a:lstStyle/>
        <a:p>
          <a:endParaRPr lang="en-US" sz="2000">
            <a:solidFill>
              <a:schemeClr val="accent1"/>
            </a:solidFill>
          </a:endParaRPr>
        </a:p>
      </dgm:t>
    </dgm:pt>
    <dgm:pt modelId="{9FEFAC9F-44CD-49F6-8F67-00A7ACC2C59B}">
      <dgm:prSet custT="1"/>
      <dgm:spPr>
        <a:solidFill>
          <a:schemeClr val="accent3"/>
        </a:solidFill>
      </dgm:spPr>
      <dgm:t>
        <a:bodyPr/>
        <a:lstStyle/>
        <a:p>
          <a:pPr>
            <a:lnSpc>
              <a:spcPct val="100000"/>
            </a:lnSpc>
            <a:spcAft>
              <a:spcPts val="1200"/>
            </a:spcAft>
          </a:pPr>
          <a:r>
            <a:rPr lang="en-US" sz="2000"/>
            <a:t>Empathy training has been found to not only improve patient outcomes but also to decrease malpractice risk and improve physician and patient satisfaction.</a:t>
          </a:r>
          <a:endParaRPr lang="en-US" sz="2000" dirty="0"/>
        </a:p>
      </dgm:t>
    </dgm:pt>
    <dgm:pt modelId="{91AB8D70-A50A-485A-A602-E82CD24949EB}" type="parTrans" cxnId="{F404D0B9-54B0-4CE4-881C-FC6DF5D933AB}">
      <dgm:prSet/>
      <dgm:spPr/>
      <dgm:t>
        <a:bodyPr/>
        <a:lstStyle/>
        <a:p>
          <a:endParaRPr lang="en-US" sz="2000">
            <a:solidFill>
              <a:schemeClr val="accent1"/>
            </a:solidFill>
          </a:endParaRPr>
        </a:p>
      </dgm:t>
    </dgm:pt>
    <dgm:pt modelId="{E9AA095C-3741-4C09-95D2-1C82E11B6D60}" type="sibTrans" cxnId="{F404D0B9-54B0-4CE4-881C-FC6DF5D933AB}">
      <dgm:prSet/>
      <dgm:spPr/>
      <dgm:t>
        <a:bodyPr/>
        <a:lstStyle/>
        <a:p>
          <a:endParaRPr lang="en-US" sz="2000">
            <a:solidFill>
              <a:schemeClr val="accent1"/>
            </a:solidFill>
          </a:endParaRPr>
        </a:p>
      </dgm:t>
    </dgm:pt>
    <dgm:pt modelId="{295AA6A1-088F-4AFE-B212-1FB139680CC8}" type="pres">
      <dgm:prSet presAssocID="{71F92779-7780-4A79-9B65-9DDE2A8A951A}" presName="linear" presStyleCnt="0">
        <dgm:presLayoutVars>
          <dgm:animLvl val="lvl"/>
          <dgm:resizeHandles val="exact"/>
        </dgm:presLayoutVars>
      </dgm:prSet>
      <dgm:spPr/>
      <dgm:t>
        <a:bodyPr/>
        <a:lstStyle/>
        <a:p>
          <a:endParaRPr lang="en-US"/>
        </a:p>
      </dgm:t>
    </dgm:pt>
    <dgm:pt modelId="{817FBEC9-F985-4D71-897C-5D4C92FE4C30}" type="pres">
      <dgm:prSet presAssocID="{C8507328-57A8-4C05-8D66-17B7A8280861}" presName="parentText" presStyleLbl="node1" presStyleIdx="0" presStyleCnt="3">
        <dgm:presLayoutVars>
          <dgm:chMax val="0"/>
          <dgm:bulletEnabled val="1"/>
        </dgm:presLayoutVars>
      </dgm:prSet>
      <dgm:spPr/>
      <dgm:t>
        <a:bodyPr/>
        <a:lstStyle/>
        <a:p>
          <a:endParaRPr lang="en-US"/>
        </a:p>
      </dgm:t>
    </dgm:pt>
    <dgm:pt modelId="{0F05D9E1-B3E5-4254-9144-FF574A30733A}" type="pres">
      <dgm:prSet presAssocID="{F705F732-6130-41CE-9E3A-7F8E181D7B55}" presName="spacer" presStyleCnt="0"/>
      <dgm:spPr/>
    </dgm:pt>
    <dgm:pt modelId="{25218263-752F-404A-BC1D-4BD48DC0D336}" type="pres">
      <dgm:prSet presAssocID="{FB8D123D-6AB6-4973-A4B8-1CCDF78244D1}" presName="parentText" presStyleLbl="node1" presStyleIdx="1" presStyleCnt="3">
        <dgm:presLayoutVars>
          <dgm:chMax val="0"/>
          <dgm:bulletEnabled val="1"/>
        </dgm:presLayoutVars>
      </dgm:prSet>
      <dgm:spPr/>
      <dgm:t>
        <a:bodyPr/>
        <a:lstStyle/>
        <a:p>
          <a:endParaRPr lang="en-US"/>
        </a:p>
      </dgm:t>
    </dgm:pt>
    <dgm:pt modelId="{18A37A0F-3233-4CB0-9679-68D5F515D0E6}" type="pres">
      <dgm:prSet presAssocID="{A183AEAF-8D5E-4CD0-A4A4-E18D8294B662}" presName="spacer" presStyleCnt="0"/>
      <dgm:spPr/>
    </dgm:pt>
    <dgm:pt modelId="{4E5F47EE-DADD-45A0-9FEC-1A84B818F305}" type="pres">
      <dgm:prSet presAssocID="{9FEFAC9F-44CD-49F6-8F67-00A7ACC2C59B}" presName="parentText" presStyleLbl="node1" presStyleIdx="2" presStyleCnt="3">
        <dgm:presLayoutVars>
          <dgm:chMax val="0"/>
          <dgm:bulletEnabled val="1"/>
        </dgm:presLayoutVars>
      </dgm:prSet>
      <dgm:spPr/>
      <dgm:t>
        <a:bodyPr/>
        <a:lstStyle/>
        <a:p>
          <a:endParaRPr lang="en-US"/>
        </a:p>
      </dgm:t>
    </dgm:pt>
  </dgm:ptLst>
  <dgm:cxnLst>
    <dgm:cxn modelId="{93EAAF3E-03B1-4E03-90F2-837D3A7A26D5}" type="presOf" srcId="{C8507328-57A8-4C05-8D66-17B7A8280861}" destId="{817FBEC9-F985-4D71-897C-5D4C92FE4C30}" srcOrd="0" destOrd="0" presId="urn:microsoft.com/office/officeart/2005/8/layout/vList2"/>
    <dgm:cxn modelId="{F404D0B9-54B0-4CE4-881C-FC6DF5D933AB}" srcId="{71F92779-7780-4A79-9B65-9DDE2A8A951A}" destId="{9FEFAC9F-44CD-49F6-8F67-00A7ACC2C59B}" srcOrd="2" destOrd="0" parTransId="{91AB8D70-A50A-485A-A602-E82CD24949EB}" sibTransId="{E9AA095C-3741-4C09-95D2-1C82E11B6D60}"/>
    <dgm:cxn modelId="{26EEB3E4-462C-4E31-A3ED-E721B3E71F84}" srcId="{71F92779-7780-4A79-9B65-9DDE2A8A951A}" destId="{FB8D123D-6AB6-4973-A4B8-1CCDF78244D1}" srcOrd="1" destOrd="0" parTransId="{D429D59A-EA34-4E94-BC04-9F0E1955D14D}" sibTransId="{A183AEAF-8D5E-4CD0-A4A4-E18D8294B662}"/>
    <dgm:cxn modelId="{0EC48845-71C7-4A25-A2C2-D919EDED984B}" type="presOf" srcId="{FB8D123D-6AB6-4973-A4B8-1CCDF78244D1}" destId="{25218263-752F-404A-BC1D-4BD48DC0D336}" srcOrd="0" destOrd="0" presId="urn:microsoft.com/office/officeart/2005/8/layout/vList2"/>
    <dgm:cxn modelId="{17915115-7B07-4648-91C6-0AF9075B59EF}" type="presOf" srcId="{71F92779-7780-4A79-9B65-9DDE2A8A951A}" destId="{295AA6A1-088F-4AFE-B212-1FB139680CC8}" srcOrd="0" destOrd="0" presId="urn:microsoft.com/office/officeart/2005/8/layout/vList2"/>
    <dgm:cxn modelId="{6FA23510-3A7D-4200-9D17-28DDD096D5CA}" type="presOf" srcId="{9FEFAC9F-44CD-49F6-8F67-00A7ACC2C59B}" destId="{4E5F47EE-DADD-45A0-9FEC-1A84B818F305}" srcOrd="0" destOrd="0" presId="urn:microsoft.com/office/officeart/2005/8/layout/vList2"/>
    <dgm:cxn modelId="{8378C7BB-CD7B-465E-8454-48C5F50052D0}" srcId="{71F92779-7780-4A79-9B65-9DDE2A8A951A}" destId="{C8507328-57A8-4C05-8D66-17B7A8280861}" srcOrd="0" destOrd="0" parTransId="{F5812A8B-5A86-480B-95C0-158D1061CB1A}" sibTransId="{F705F732-6130-41CE-9E3A-7F8E181D7B55}"/>
    <dgm:cxn modelId="{CCFFFAB8-611C-4464-98B8-47B35DBA0563}" type="presParOf" srcId="{295AA6A1-088F-4AFE-B212-1FB139680CC8}" destId="{817FBEC9-F985-4D71-897C-5D4C92FE4C30}" srcOrd="0" destOrd="0" presId="urn:microsoft.com/office/officeart/2005/8/layout/vList2"/>
    <dgm:cxn modelId="{4C03186F-2150-4CED-BDA8-599398E050D0}" type="presParOf" srcId="{295AA6A1-088F-4AFE-B212-1FB139680CC8}" destId="{0F05D9E1-B3E5-4254-9144-FF574A30733A}" srcOrd="1" destOrd="0" presId="urn:microsoft.com/office/officeart/2005/8/layout/vList2"/>
    <dgm:cxn modelId="{48A820A0-6EE9-474C-B8B9-CA77FC307D12}" type="presParOf" srcId="{295AA6A1-088F-4AFE-B212-1FB139680CC8}" destId="{25218263-752F-404A-BC1D-4BD48DC0D336}" srcOrd="2" destOrd="0" presId="urn:microsoft.com/office/officeart/2005/8/layout/vList2"/>
    <dgm:cxn modelId="{92F006FF-7B94-4307-82FA-630AB20CF3BA}" type="presParOf" srcId="{295AA6A1-088F-4AFE-B212-1FB139680CC8}" destId="{18A37A0F-3233-4CB0-9679-68D5F515D0E6}" srcOrd="3" destOrd="0" presId="urn:microsoft.com/office/officeart/2005/8/layout/vList2"/>
    <dgm:cxn modelId="{146356AD-6F2B-49DB-AD8E-41E380E4B6D1}" type="presParOf" srcId="{295AA6A1-088F-4AFE-B212-1FB139680CC8}" destId="{4E5F47EE-DADD-45A0-9FEC-1A84B818F305}" srcOrd="4"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691158E7-8E6E-4E27-BD64-0DAA83338F65}"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16145958-DB2A-41E8-A610-507BCCFFA747}">
      <dgm:prSet phldrT="[Text]" custT="1"/>
      <dgm:spPr/>
      <dgm:t>
        <a:bodyPr/>
        <a:lstStyle/>
        <a:p>
          <a:pPr>
            <a:lnSpc>
              <a:spcPct val="100000"/>
            </a:lnSpc>
          </a:pPr>
          <a:r>
            <a:rPr lang="en-US" sz="2000" dirty="0">
              <a:solidFill>
                <a:schemeClr val="accent1"/>
              </a:solidFill>
              <a:latin typeface="+mn-lt"/>
            </a:rPr>
            <a:t>Knock before entering exam rooms.</a:t>
          </a:r>
        </a:p>
      </dgm:t>
    </dgm:pt>
    <dgm:pt modelId="{31918262-DE93-409F-8E9A-AB0CA040701B}" type="parTrans" cxnId="{C35AD5E9-3DE7-49B4-A7B4-A24DAA2DA8E9}">
      <dgm:prSet/>
      <dgm:spPr/>
      <dgm:t>
        <a:bodyPr/>
        <a:lstStyle/>
        <a:p>
          <a:endParaRPr lang="en-US" sz="2000">
            <a:solidFill>
              <a:schemeClr val="accent1"/>
            </a:solidFill>
            <a:latin typeface="+mn-lt"/>
          </a:endParaRPr>
        </a:p>
      </dgm:t>
    </dgm:pt>
    <dgm:pt modelId="{4FAE1F13-CE92-487F-A034-6394584C294A}" type="sibTrans" cxnId="{C35AD5E9-3DE7-49B4-A7B4-A24DAA2DA8E9}">
      <dgm:prSet/>
      <dgm:spPr/>
      <dgm:t>
        <a:bodyPr/>
        <a:lstStyle/>
        <a:p>
          <a:endParaRPr lang="en-US" sz="2000">
            <a:solidFill>
              <a:schemeClr val="accent1"/>
            </a:solidFill>
            <a:latin typeface="+mn-lt"/>
          </a:endParaRPr>
        </a:p>
      </dgm:t>
    </dgm:pt>
    <dgm:pt modelId="{36E38CCF-02F7-4DCC-850D-34891BE2D14F}">
      <dgm:prSet phldrT="[Text]" custT="1"/>
      <dgm:spPr/>
      <dgm:t>
        <a:bodyPr/>
        <a:lstStyle/>
        <a:p>
          <a:pPr>
            <a:lnSpc>
              <a:spcPct val="100000"/>
            </a:lnSpc>
          </a:pPr>
          <a:r>
            <a:rPr lang="en-US" sz="2000" dirty="0">
              <a:solidFill>
                <a:schemeClr val="accent1"/>
              </a:solidFill>
              <a:latin typeface="+mn-lt"/>
            </a:rPr>
            <a:t>Greet patients and introduce yourself (if needed).</a:t>
          </a:r>
        </a:p>
      </dgm:t>
    </dgm:pt>
    <dgm:pt modelId="{C3FC3338-2D4C-445F-B3CA-64866F3CCD6D}" type="parTrans" cxnId="{D0522B77-A993-457C-99D2-B3B6E9B04DC2}">
      <dgm:prSet/>
      <dgm:spPr/>
      <dgm:t>
        <a:bodyPr/>
        <a:lstStyle/>
        <a:p>
          <a:endParaRPr lang="en-US" sz="2000">
            <a:solidFill>
              <a:schemeClr val="accent1"/>
            </a:solidFill>
            <a:latin typeface="+mn-lt"/>
          </a:endParaRPr>
        </a:p>
      </dgm:t>
    </dgm:pt>
    <dgm:pt modelId="{B47FB652-9B2B-4045-B536-8165F0EDC37A}" type="sibTrans" cxnId="{D0522B77-A993-457C-99D2-B3B6E9B04DC2}">
      <dgm:prSet/>
      <dgm:spPr/>
      <dgm:t>
        <a:bodyPr/>
        <a:lstStyle/>
        <a:p>
          <a:endParaRPr lang="en-US" sz="2000">
            <a:solidFill>
              <a:schemeClr val="accent1"/>
            </a:solidFill>
            <a:latin typeface="+mn-lt"/>
          </a:endParaRPr>
        </a:p>
      </dgm:t>
    </dgm:pt>
    <dgm:pt modelId="{A357F26A-E5B4-41A6-BD08-CDE8C1D25172}">
      <dgm:prSet phldrT="[Text]" custT="1"/>
      <dgm:spPr/>
      <dgm:t>
        <a:bodyPr/>
        <a:lstStyle/>
        <a:p>
          <a:pPr>
            <a:lnSpc>
              <a:spcPct val="100000"/>
            </a:lnSpc>
          </a:pPr>
          <a:r>
            <a:rPr lang="en-US" sz="2000" dirty="0">
              <a:solidFill>
                <a:schemeClr val="accent1"/>
              </a:solidFill>
              <a:latin typeface="+mn-lt"/>
            </a:rPr>
            <a:t>Sit when you can and maintain eye contact when talking to patients.</a:t>
          </a:r>
        </a:p>
      </dgm:t>
    </dgm:pt>
    <dgm:pt modelId="{31736997-D3E7-4BB9-9084-18FE9B33D31E}" type="parTrans" cxnId="{31BCFF5B-8EB1-45EB-9188-ACF84B04B84E}">
      <dgm:prSet/>
      <dgm:spPr/>
      <dgm:t>
        <a:bodyPr/>
        <a:lstStyle/>
        <a:p>
          <a:endParaRPr lang="en-US" sz="2000">
            <a:solidFill>
              <a:schemeClr val="accent1"/>
            </a:solidFill>
            <a:latin typeface="+mn-lt"/>
          </a:endParaRPr>
        </a:p>
      </dgm:t>
    </dgm:pt>
    <dgm:pt modelId="{0DFBEE1F-4F6F-4347-87C7-A73966BDFBB4}" type="sibTrans" cxnId="{31BCFF5B-8EB1-45EB-9188-ACF84B04B84E}">
      <dgm:prSet/>
      <dgm:spPr/>
      <dgm:t>
        <a:bodyPr/>
        <a:lstStyle/>
        <a:p>
          <a:endParaRPr lang="en-US" sz="2000">
            <a:solidFill>
              <a:schemeClr val="accent1"/>
            </a:solidFill>
            <a:latin typeface="+mn-lt"/>
          </a:endParaRPr>
        </a:p>
      </dgm:t>
    </dgm:pt>
    <dgm:pt modelId="{75600F84-AB62-4487-8F09-9FB02BE24FE4}">
      <dgm:prSet phldrT="[Text]" custT="1"/>
      <dgm:spPr/>
      <dgm:t>
        <a:bodyPr/>
        <a:lstStyle/>
        <a:p>
          <a:pPr>
            <a:lnSpc>
              <a:spcPct val="100000"/>
            </a:lnSpc>
          </a:pPr>
          <a:r>
            <a:rPr lang="en-US" sz="2000" dirty="0">
              <a:solidFill>
                <a:schemeClr val="accent1"/>
              </a:solidFill>
              <a:latin typeface="+mn-lt"/>
            </a:rPr>
            <a:t>Be aware of nonverbal communication and cues.</a:t>
          </a:r>
        </a:p>
      </dgm:t>
    </dgm:pt>
    <dgm:pt modelId="{703A1CFF-5ED6-451E-B982-BE7993E798BD}" type="parTrans" cxnId="{97D196E3-41D2-413E-B719-897BFE7BBBAD}">
      <dgm:prSet/>
      <dgm:spPr/>
      <dgm:t>
        <a:bodyPr/>
        <a:lstStyle/>
        <a:p>
          <a:endParaRPr lang="en-US" sz="2000">
            <a:solidFill>
              <a:schemeClr val="accent1"/>
            </a:solidFill>
            <a:latin typeface="+mn-lt"/>
          </a:endParaRPr>
        </a:p>
      </dgm:t>
    </dgm:pt>
    <dgm:pt modelId="{8E1A6AE3-89BC-4F15-B19E-18AF30BFCEBD}" type="sibTrans" cxnId="{97D196E3-41D2-413E-B719-897BFE7BBBAD}">
      <dgm:prSet/>
      <dgm:spPr/>
      <dgm:t>
        <a:bodyPr/>
        <a:lstStyle/>
        <a:p>
          <a:endParaRPr lang="en-US" sz="2000">
            <a:solidFill>
              <a:schemeClr val="accent1"/>
            </a:solidFill>
            <a:latin typeface="+mn-lt"/>
          </a:endParaRPr>
        </a:p>
      </dgm:t>
    </dgm:pt>
    <dgm:pt modelId="{F1A9C19E-9EFD-4068-A030-C56430DB6798}">
      <dgm:prSet phldrT="[Text]" custT="1"/>
      <dgm:spPr/>
      <dgm:t>
        <a:bodyPr/>
        <a:lstStyle/>
        <a:p>
          <a:pPr>
            <a:lnSpc>
              <a:spcPct val="100000"/>
            </a:lnSpc>
          </a:pPr>
          <a:r>
            <a:rPr lang="en-US" sz="2000" dirty="0">
              <a:solidFill>
                <a:schemeClr val="accent1"/>
              </a:solidFill>
              <a:latin typeface="+mn-lt"/>
            </a:rPr>
            <a:t>Ask patients about their goals for the visit.</a:t>
          </a:r>
        </a:p>
      </dgm:t>
    </dgm:pt>
    <dgm:pt modelId="{B5C68976-CB6F-464B-9788-0C620F13A281}" type="parTrans" cxnId="{944C01B5-DAA2-4118-A51B-9154A184B7FE}">
      <dgm:prSet/>
      <dgm:spPr/>
      <dgm:t>
        <a:bodyPr/>
        <a:lstStyle/>
        <a:p>
          <a:endParaRPr lang="en-US" sz="2000">
            <a:solidFill>
              <a:schemeClr val="accent1"/>
            </a:solidFill>
            <a:latin typeface="+mn-lt"/>
          </a:endParaRPr>
        </a:p>
      </dgm:t>
    </dgm:pt>
    <dgm:pt modelId="{1EB11567-78D8-4869-9079-218D7D910FB3}" type="sibTrans" cxnId="{944C01B5-DAA2-4118-A51B-9154A184B7FE}">
      <dgm:prSet/>
      <dgm:spPr/>
      <dgm:t>
        <a:bodyPr/>
        <a:lstStyle/>
        <a:p>
          <a:endParaRPr lang="en-US" sz="2000">
            <a:solidFill>
              <a:schemeClr val="accent1"/>
            </a:solidFill>
            <a:latin typeface="+mn-lt"/>
          </a:endParaRPr>
        </a:p>
      </dgm:t>
    </dgm:pt>
    <dgm:pt modelId="{312C1F80-420C-4FF4-BCE2-6331632DC0DB}">
      <dgm:prSet phldrT="[Text]" custT="1"/>
      <dgm:spPr/>
      <dgm:t>
        <a:bodyPr/>
        <a:lstStyle/>
        <a:p>
          <a:pPr>
            <a:lnSpc>
              <a:spcPct val="100000"/>
            </a:lnSpc>
          </a:pPr>
          <a:r>
            <a:rPr lang="en-US" sz="2000" dirty="0">
              <a:solidFill>
                <a:schemeClr val="accent1"/>
              </a:solidFill>
              <a:latin typeface="+mn-lt"/>
            </a:rPr>
            <a:t>Don’t interrupt while patients are talking.</a:t>
          </a:r>
        </a:p>
      </dgm:t>
    </dgm:pt>
    <dgm:pt modelId="{EACD424F-7343-4213-A3AA-8965D3159292}" type="parTrans" cxnId="{F444D15D-A479-4954-9C3E-660B401C2BED}">
      <dgm:prSet/>
      <dgm:spPr/>
      <dgm:t>
        <a:bodyPr/>
        <a:lstStyle/>
        <a:p>
          <a:endParaRPr lang="en-US" sz="2000">
            <a:solidFill>
              <a:schemeClr val="accent1"/>
            </a:solidFill>
            <a:latin typeface="+mn-lt"/>
          </a:endParaRPr>
        </a:p>
      </dgm:t>
    </dgm:pt>
    <dgm:pt modelId="{856228D8-F50E-4AF8-B860-EDCCEFC0BA23}" type="sibTrans" cxnId="{F444D15D-A479-4954-9C3E-660B401C2BED}">
      <dgm:prSet/>
      <dgm:spPr/>
      <dgm:t>
        <a:bodyPr/>
        <a:lstStyle/>
        <a:p>
          <a:endParaRPr lang="en-US" sz="2000">
            <a:solidFill>
              <a:schemeClr val="accent1"/>
            </a:solidFill>
            <a:latin typeface="+mn-lt"/>
          </a:endParaRPr>
        </a:p>
      </dgm:t>
    </dgm:pt>
    <dgm:pt modelId="{EDDF7E8F-42B6-436A-8713-514070195F7F}">
      <dgm:prSet phldrT="[Text]" custT="1"/>
      <dgm:spPr/>
      <dgm:t>
        <a:bodyPr/>
        <a:lstStyle/>
        <a:p>
          <a:pPr>
            <a:lnSpc>
              <a:spcPct val="100000"/>
            </a:lnSpc>
          </a:pPr>
          <a:r>
            <a:rPr lang="en-US" sz="2000" dirty="0">
              <a:solidFill>
                <a:schemeClr val="accent1"/>
              </a:solidFill>
              <a:latin typeface="+mn-lt"/>
            </a:rPr>
            <a:t>Ask open-ended questions.</a:t>
          </a:r>
        </a:p>
      </dgm:t>
    </dgm:pt>
    <dgm:pt modelId="{AAF47B22-DD8B-4245-8085-DBED7F1BBF05}" type="parTrans" cxnId="{05DF50ED-9062-4B67-B9CF-FC3287820B32}">
      <dgm:prSet/>
      <dgm:spPr/>
      <dgm:t>
        <a:bodyPr/>
        <a:lstStyle/>
        <a:p>
          <a:endParaRPr lang="en-US" sz="2000">
            <a:solidFill>
              <a:schemeClr val="accent1"/>
            </a:solidFill>
            <a:latin typeface="+mn-lt"/>
          </a:endParaRPr>
        </a:p>
      </dgm:t>
    </dgm:pt>
    <dgm:pt modelId="{2F58388E-CB82-4E04-8D60-5CD159772976}" type="sibTrans" cxnId="{05DF50ED-9062-4B67-B9CF-FC3287820B32}">
      <dgm:prSet/>
      <dgm:spPr/>
      <dgm:t>
        <a:bodyPr/>
        <a:lstStyle/>
        <a:p>
          <a:endParaRPr lang="en-US" sz="2000">
            <a:solidFill>
              <a:schemeClr val="accent1"/>
            </a:solidFill>
            <a:latin typeface="+mn-lt"/>
          </a:endParaRPr>
        </a:p>
      </dgm:t>
    </dgm:pt>
    <dgm:pt modelId="{6864C8ED-CE41-4F0B-BD7D-83EDBDEBE8DB}" type="pres">
      <dgm:prSet presAssocID="{691158E7-8E6E-4E27-BD64-0DAA83338F65}" presName="vert0" presStyleCnt="0">
        <dgm:presLayoutVars>
          <dgm:dir/>
          <dgm:animOne val="branch"/>
          <dgm:animLvl val="lvl"/>
        </dgm:presLayoutVars>
      </dgm:prSet>
      <dgm:spPr/>
      <dgm:t>
        <a:bodyPr/>
        <a:lstStyle/>
        <a:p>
          <a:endParaRPr lang="en-US"/>
        </a:p>
      </dgm:t>
    </dgm:pt>
    <dgm:pt modelId="{1183286E-2114-47FF-AFAC-238A94BC5C77}" type="pres">
      <dgm:prSet presAssocID="{16145958-DB2A-41E8-A610-507BCCFFA747}" presName="thickLine" presStyleLbl="alignNode1" presStyleIdx="0" presStyleCnt="7"/>
      <dgm:spPr/>
    </dgm:pt>
    <dgm:pt modelId="{6A91620E-8DCB-42AA-BC80-327923A984AB}" type="pres">
      <dgm:prSet presAssocID="{16145958-DB2A-41E8-A610-507BCCFFA747}" presName="horz1" presStyleCnt="0"/>
      <dgm:spPr/>
    </dgm:pt>
    <dgm:pt modelId="{3F8120F4-F3AD-46B2-AE65-3F6C8A65374A}" type="pres">
      <dgm:prSet presAssocID="{16145958-DB2A-41E8-A610-507BCCFFA747}" presName="tx1" presStyleLbl="revTx" presStyleIdx="0" presStyleCnt="7" custScaleY="69219"/>
      <dgm:spPr/>
      <dgm:t>
        <a:bodyPr/>
        <a:lstStyle/>
        <a:p>
          <a:endParaRPr lang="en-US"/>
        </a:p>
      </dgm:t>
    </dgm:pt>
    <dgm:pt modelId="{71FAF6F4-C4AF-471F-B509-1755F09D47E8}" type="pres">
      <dgm:prSet presAssocID="{16145958-DB2A-41E8-A610-507BCCFFA747}" presName="vert1" presStyleCnt="0"/>
      <dgm:spPr/>
    </dgm:pt>
    <dgm:pt modelId="{A41C140F-0E51-49C7-9975-F21634877BDA}" type="pres">
      <dgm:prSet presAssocID="{36E38CCF-02F7-4DCC-850D-34891BE2D14F}" presName="thickLine" presStyleLbl="alignNode1" presStyleIdx="1" presStyleCnt="7"/>
      <dgm:spPr/>
    </dgm:pt>
    <dgm:pt modelId="{637AAD2B-8D6B-401D-BE87-87EE9834E80E}" type="pres">
      <dgm:prSet presAssocID="{36E38CCF-02F7-4DCC-850D-34891BE2D14F}" presName="horz1" presStyleCnt="0"/>
      <dgm:spPr/>
    </dgm:pt>
    <dgm:pt modelId="{8FC06645-3EA1-45F1-A6F8-11EAAA581ED3}" type="pres">
      <dgm:prSet presAssocID="{36E38CCF-02F7-4DCC-850D-34891BE2D14F}" presName="tx1" presStyleLbl="revTx" presStyleIdx="1" presStyleCnt="7"/>
      <dgm:spPr/>
      <dgm:t>
        <a:bodyPr/>
        <a:lstStyle/>
        <a:p>
          <a:endParaRPr lang="en-US"/>
        </a:p>
      </dgm:t>
    </dgm:pt>
    <dgm:pt modelId="{43B87DB5-00AE-454B-A0AC-3618616F72E3}" type="pres">
      <dgm:prSet presAssocID="{36E38CCF-02F7-4DCC-850D-34891BE2D14F}" presName="vert1" presStyleCnt="0"/>
      <dgm:spPr/>
    </dgm:pt>
    <dgm:pt modelId="{A2C81F1C-98A9-4FFD-926C-7A118AEEDCF4}" type="pres">
      <dgm:prSet presAssocID="{A357F26A-E5B4-41A6-BD08-CDE8C1D25172}" presName="thickLine" presStyleLbl="alignNode1" presStyleIdx="2" presStyleCnt="7"/>
      <dgm:spPr/>
    </dgm:pt>
    <dgm:pt modelId="{6AFAE13C-FA92-4D8B-AF76-A5E27BC95ED1}" type="pres">
      <dgm:prSet presAssocID="{A357F26A-E5B4-41A6-BD08-CDE8C1D25172}" presName="horz1" presStyleCnt="0"/>
      <dgm:spPr/>
    </dgm:pt>
    <dgm:pt modelId="{D92B8BFC-1998-401A-BB32-22CC57AE4193}" type="pres">
      <dgm:prSet presAssocID="{A357F26A-E5B4-41A6-BD08-CDE8C1D25172}" presName="tx1" presStyleLbl="revTx" presStyleIdx="2" presStyleCnt="7"/>
      <dgm:spPr/>
      <dgm:t>
        <a:bodyPr/>
        <a:lstStyle/>
        <a:p>
          <a:endParaRPr lang="en-US"/>
        </a:p>
      </dgm:t>
    </dgm:pt>
    <dgm:pt modelId="{13BF509C-8329-40FB-936F-4389FA1F2053}" type="pres">
      <dgm:prSet presAssocID="{A357F26A-E5B4-41A6-BD08-CDE8C1D25172}" presName="vert1" presStyleCnt="0"/>
      <dgm:spPr/>
    </dgm:pt>
    <dgm:pt modelId="{46B36447-F9CE-4114-91FF-3A75309FBCBB}" type="pres">
      <dgm:prSet presAssocID="{75600F84-AB62-4487-8F09-9FB02BE24FE4}" presName="thickLine" presStyleLbl="alignNode1" presStyleIdx="3" presStyleCnt="7"/>
      <dgm:spPr/>
    </dgm:pt>
    <dgm:pt modelId="{38733BFF-7710-4C82-86F4-940CE6535313}" type="pres">
      <dgm:prSet presAssocID="{75600F84-AB62-4487-8F09-9FB02BE24FE4}" presName="horz1" presStyleCnt="0"/>
      <dgm:spPr/>
    </dgm:pt>
    <dgm:pt modelId="{18B1A157-6C03-4A54-9834-83D3A5CE77FA}" type="pres">
      <dgm:prSet presAssocID="{75600F84-AB62-4487-8F09-9FB02BE24FE4}" presName="tx1" presStyleLbl="revTx" presStyleIdx="3" presStyleCnt="7"/>
      <dgm:spPr/>
      <dgm:t>
        <a:bodyPr/>
        <a:lstStyle/>
        <a:p>
          <a:endParaRPr lang="en-US"/>
        </a:p>
      </dgm:t>
    </dgm:pt>
    <dgm:pt modelId="{06EFF9AC-8A9F-4963-81C4-2634C93BEFF7}" type="pres">
      <dgm:prSet presAssocID="{75600F84-AB62-4487-8F09-9FB02BE24FE4}" presName="vert1" presStyleCnt="0"/>
      <dgm:spPr/>
    </dgm:pt>
    <dgm:pt modelId="{E5B48737-1134-4668-842B-419557E663FE}" type="pres">
      <dgm:prSet presAssocID="{F1A9C19E-9EFD-4068-A030-C56430DB6798}" presName="thickLine" presStyleLbl="alignNode1" presStyleIdx="4" presStyleCnt="7"/>
      <dgm:spPr/>
    </dgm:pt>
    <dgm:pt modelId="{5D878C48-D9D4-484A-9531-67B7B54189EA}" type="pres">
      <dgm:prSet presAssocID="{F1A9C19E-9EFD-4068-A030-C56430DB6798}" presName="horz1" presStyleCnt="0"/>
      <dgm:spPr/>
    </dgm:pt>
    <dgm:pt modelId="{91BFD212-A63B-450E-AC76-B828719BE806}" type="pres">
      <dgm:prSet presAssocID="{F1A9C19E-9EFD-4068-A030-C56430DB6798}" presName="tx1" presStyleLbl="revTx" presStyleIdx="4" presStyleCnt="7" custScaleY="81695"/>
      <dgm:spPr/>
      <dgm:t>
        <a:bodyPr/>
        <a:lstStyle/>
        <a:p>
          <a:endParaRPr lang="en-US"/>
        </a:p>
      </dgm:t>
    </dgm:pt>
    <dgm:pt modelId="{85139AB8-EDF5-4389-B859-227F5068F74A}" type="pres">
      <dgm:prSet presAssocID="{F1A9C19E-9EFD-4068-A030-C56430DB6798}" presName="vert1" presStyleCnt="0"/>
      <dgm:spPr/>
    </dgm:pt>
    <dgm:pt modelId="{D27E0969-82ED-4EB5-8EC7-38DC45CFFE51}" type="pres">
      <dgm:prSet presAssocID="{312C1F80-420C-4FF4-BCE2-6331632DC0DB}" presName="thickLine" presStyleLbl="alignNode1" presStyleIdx="5" presStyleCnt="7"/>
      <dgm:spPr/>
    </dgm:pt>
    <dgm:pt modelId="{16305334-31AE-4E39-83ED-06D5B45E389B}" type="pres">
      <dgm:prSet presAssocID="{312C1F80-420C-4FF4-BCE2-6331632DC0DB}" presName="horz1" presStyleCnt="0"/>
      <dgm:spPr/>
    </dgm:pt>
    <dgm:pt modelId="{74CC935D-E4C6-481C-A506-B429EDBDB83C}" type="pres">
      <dgm:prSet presAssocID="{312C1F80-420C-4FF4-BCE2-6331632DC0DB}" presName="tx1" presStyleLbl="revTx" presStyleIdx="5" presStyleCnt="7" custScaleY="80077"/>
      <dgm:spPr/>
      <dgm:t>
        <a:bodyPr/>
        <a:lstStyle/>
        <a:p>
          <a:endParaRPr lang="en-US"/>
        </a:p>
      </dgm:t>
    </dgm:pt>
    <dgm:pt modelId="{76D66DC0-E0B6-4A33-8D00-157EB3733866}" type="pres">
      <dgm:prSet presAssocID="{312C1F80-420C-4FF4-BCE2-6331632DC0DB}" presName="vert1" presStyleCnt="0"/>
      <dgm:spPr/>
    </dgm:pt>
    <dgm:pt modelId="{63DB75B7-9EDC-41A7-B4A2-385061860107}" type="pres">
      <dgm:prSet presAssocID="{EDDF7E8F-42B6-436A-8713-514070195F7F}" presName="thickLine" presStyleLbl="alignNode1" presStyleIdx="6" presStyleCnt="7"/>
      <dgm:spPr/>
    </dgm:pt>
    <dgm:pt modelId="{C350397D-69A4-4CFC-984E-5661F993E14B}" type="pres">
      <dgm:prSet presAssocID="{EDDF7E8F-42B6-436A-8713-514070195F7F}" presName="horz1" presStyleCnt="0"/>
      <dgm:spPr/>
    </dgm:pt>
    <dgm:pt modelId="{A334B598-3DF8-4389-86E9-D3214463F6B4}" type="pres">
      <dgm:prSet presAssocID="{EDDF7E8F-42B6-436A-8713-514070195F7F}" presName="tx1" presStyleLbl="revTx" presStyleIdx="6" presStyleCnt="7" custScaleY="74084"/>
      <dgm:spPr/>
      <dgm:t>
        <a:bodyPr/>
        <a:lstStyle/>
        <a:p>
          <a:endParaRPr lang="en-US"/>
        </a:p>
      </dgm:t>
    </dgm:pt>
    <dgm:pt modelId="{741AFA81-6DA7-4CAD-8B27-9A2C7429A487}" type="pres">
      <dgm:prSet presAssocID="{EDDF7E8F-42B6-436A-8713-514070195F7F}" presName="vert1" presStyleCnt="0"/>
      <dgm:spPr/>
    </dgm:pt>
  </dgm:ptLst>
  <dgm:cxnLst>
    <dgm:cxn modelId="{1526E263-495F-4FE1-8795-2BA436B804CB}" type="presOf" srcId="{EDDF7E8F-42B6-436A-8713-514070195F7F}" destId="{A334B598-3DF8-4389-86E9-D3214463F6B4}" srcOrd="0" destOrd="0" presId="urn:microsoft.com/office/officeart/2008/layout/LinedList"/>
    <dgm:cxn modelId="{F444D15D-A479-4954-9C3E-660B401C2BED}" srcId="{691158E7-8E6E-4E27-BD64-0DAA83338F65}" destId="{312C1F80-420C-4FF4-BCE2-6331632DC0DB}" srcOrd="5" destOrd="0" parTransId="{EACD424F-7343-4213-A3AA-8965D3159292}" sibTransId="{856228D8-F50E-4AF8-B860-EDCCEFC0BA23}"/>
    <dgm:cxn modelId="{D0522B77-A993-457C-99D2-B3B6E9B04DC2}" srcId="{691158E7-8E6E-4E27-BD64-0DAA83338F65}" destId="{36E38CCF-02F7-4DCC-850D-34891BE2D14F}" srcOrd="1" destOrd="0" parTransId="{C3FC3338-2D4C-445F-B3CA-64866F3CCD6D}" sibTransId="{B47FB652-9B2B-4045-B536-8165F0EDC37A}"/>
    <dgm:cxn modelId="{C0F3669E-F723-4F83-995A-EE4FE0C6734B}" type="presOf" srcId="{A357F26A-E5B4-41A6-BD08-CDE8C1D25172}" destId="{D92B8BFC-1998-401A-BB32-22CC57AE4193}" srcOrd="0" destOrd="0" presId="urn:microsoft.com/office/officeart/2008/layout/LinedList"/>
    <dgm:cxn modelId="{97D196E3-41D2-413E-B719-897BFE7BBBAD}" srcId="{691158E7-8E6E-4E27-BD64-0DAA83338F65}" destId="{75600F84-AB62-4487-8F09-9FB02BE24FE4}" srcOrd="3" destOrd="0" parTransId="{703A1CFF-5ED6-451E-B982-BE7993E798BD}" sibTransId="{8E1A6AE3-89BC-4F15-B19E-18AF30BFCEBD}"/>
    <dgm:cxn modelId="{944C01B5-DAA2-4118-A51B-9154A184B7FE}" srcId="{691158E7-8E6E-4E27-BD64-0DAA83338F65}" destId="{F1A9C19E-9EFD-4068-A030-C56430DB6798}" srcOrd="4" destOrd="0" parTransId="{B5C68976-CB6F-464B-9788-0C620F13A281}" sibTransId="{1EB11567-78D8-4869-9079-218D7D910FB3}"/>
    <dgm:cxn modelId="{F122813C-0864-437D-9A34-71E37CF5C666}" type="presOf" srcId="{36E38CCF-02F7-4DCC-850D-34891BE2D14F}" destId="{8FC06645-3EA1-45F1-A6F8-11EAAA581ED3}" srcOrd="0" destOrd="0" presId="urn:microsoft.com/office/officeart/2008/layout/LinedList"/>
    <dgm:cxn modelId="{05DF50ED-9062-4B67-B9CF-FC3287820B32}" srcId="{691158E7-8E6E-4E27-BD64-0DAA83338F65}" destId="{EDDF7E8F-42B6-436A-8713-514070195F7F}" srcOrd="6" destOrd="0" parTransId="{AAF47B22-DD8B-4245-8085-DBED7F1BBF05}" sibTransId="{2F58388E-CB82-4E04-8D60-5CD159772976}"/>
    <dgm:cxn modelId="{AC207263-238B-46B2-B035-0A0F776A514B}" type="presOf" srcId="{75600F84-AB62-4487-8F09-9FB02BE24FE4}" destId="{18B1A157-6C03-4A54-9834-83D3A5CE77FA}" srcOrd="0" destOrd="0" presId="urn:microsoft.com/office/officeart/2008/layout/LinedList"/>
    <dgm:cxn modelId="{C35AD5E9-3DE7-49B4-A7B4-A24DAA2DA8E9}" srcId="{691158E7-8E6E-4E27-BD64-0DAA83338F65}" destId="{16145958-DB2A-41E8-A610-507BCCFFA747}" srcOrd="0" destOrd="0" parTransId="{31918262-DE93-409F-8E9A-AB0CA040701B}" sibTransId="{4FAE1F13-CE92-487F-A034-6394584C294A}"/>
    <dgm:cxn modelId="{31BCFF5B-8EB1-45EB-9188-ACF84B04B84E}" srcId="{691158E7-8E6E-4E27-BD64-0DAA83338F65}" destId="{A357F26A-E5B4-41A6-BD08-CDE8C1D25172}" srcOrd="2" destOrd="0" parTransId="{31736997-D3E7-4BB9-9084-18FE9B33D31E}" sibTransId="{0DFBEE1F-4F6F-4347-87C7-A73966BDFBB4}"/>
    <dgm:cxn modelId="{396A7BE3-E8A2-40CC-8642-7BA46E119D5F}" type="presOf" srcId="{16145958-DB2A-41E8-A610-507BCCFFA747}" destId="{3F8120F4-F3AD-46B2-AE65-3F6C8A65374A}" srcOrd="0" destOrd="0" presId="urn:microsoft.com/office/officeart/2008/layout/LinedList"/>
    <dgm:cxn modelId="{2C608175-FD80-4EC3-A4C8-26DD6C8B315E}" type="presOf" srcId="{691158E7-8E6E-4E27-BD64-0DAA83338F65}" destId="{6864C8ED-CE41-4F0B-BD7D-83EDBDEBE8DB}" srcOrd="0" destOrd="0" presId="urn:microsoft.com/office/officeart/2008/layout/LinedList"/>
    <dgm:cxn modelId="{FDF5400B-8564-4E85-9634-DD35E1721138}" type="presOf" srcId="{F1A9C19E-9EFD-4068-A030-C56430DB6798}" destId="{91BFD212-A63B-450E-AC76-B828719BE806}" srcOrd="0" destOrd="0" presId="urn:microsoft.com/office/officeart/2008/layout/LinedList"/>
    <dgm:cxn modelId="{59BEDBFE-9C3B-4390-B7FD-19C33990ABF4}" type="presOf" srcId="{312C1F80-420C-4FF4-BCE2-6331632DC0DB}" destId="{74CC935D-E4C6-481C-A506-B429EDBDB83C}" srcOrd="0" destOrd="0" presId="urn:microsoft.com/office/officeart/2008/layout/LinedList"/>
    <dgm:cxn modelId="{1F69A5F5-72BB-4814-A90C-AAFB96DF1566}" type="presParOf" srcId="{6864C8ED-CE41-4F0B-BD7D-83EDBDEBE8DB}" destId="{1183286E-2114-47FF-AFAC-238A94BC5C77}" srcOrd="0" destOrd="0" presId="urn:microsoft.com/office/officeart/2008/layout/LinedList"/>
    <dgm:cxn modelId="{D9B05B48-C623-460C-BF4F-68D95E5D38D4}" type="presParOf" srcId="{6864C8ED-CE41-4F0B-BD7D-83EDBDEBE8DB}" destId="{6A91620E-8DCB-42AA-BC80-327923A984AB}" srcOrd="1" destOrd="0" presId="urn:microsoft.com/office/officeart/2008/layout/LinedList"/>
    <dgm:cxn modelId="{80285E01-5EE2-4B05-A4AE-451BE4113AA3}" type="presParOf" srcId="{6A91620E-8DCB-42AA-BC80-327923A984AB}" destId="{3F8120F4-F3AD-46B2-AE65-3F6C8A65374A}" srcOrd="0" destOrd="0" presId="urn:microsoft.com/office/officeart/2008/layout/LinedList"/>
    <dgm:cxn modelId="{2DEB3793-3C92-4FF3-A5D8-80D7E4F7665D}" type="presParOf" srcId="{6A91620E-8DCB-42AA-BC80-327923A984AB}" destId="{71FAF6F4-C4AF-471F-B509-1755F09D47E8}" srcOrd="1" destOrd="0" presId="urn:microsoft.com/office/officeart/2008/layout/LinedList"/>
    <dgm:cxn modelId="{D2439E72-E730-4AFF-A901-E395A065B9FA}" type="presParOf" srcId="{6864C8ED-CE41-4F0B-BD7D-83EDBDEBE8DB}" destId="{A41C140F-0E51-49C7-9975-F21634877BDA}" srcOrd="2" destOrd="0" presId="urn:microsoft.com/office/officeart/2008/layout/LinedList"/>
    <dgm:cxn modelId="{76314C4A-03D9-44ED-8ADD-EF225B31AEE3}" type="presParOf" srcId="{6864C8ED-CE41-4F0B-BD7D-83EDBDEBE8DB}" destId="{637AAD2B-8D6B-401D-BE87-87EE9834E80E}" srcOrd="3" destOrd="0" presId="urn:microsoft.com/office/officeart/2008/layout/LinedList"/>
    <dgm:cxn modelId="{C9850D3D-2432-4141-B007-ABBF1C947D83}" type="presParOf" srcId="{637AAD2B-8D6B-401D-BE87-87EE9834E80E}" destId="{8FC06645-3EA1-45F1-A6F8-11EAAA581ED3}" srcOrd="0" destOrd="0" presId="urn:microsoft.com/office/officeart/2008/layout/LinedList"/>
    <dgm:cxn modelId="{8BE33839-0F49-4C44-98DF-5BC58D58E2CB}" type="presParOf" srcId="{637AAD2B-8D6B-401D-BE87-87EE9834E80E}" destId="{43B87DB5-00AE-454B-A0AC-3618616F72E3}" srcOrd="1" destOrd="0" presId="urn:microsoft.com/office/officeart/2008/layout/LinedList"/>
    <dgm:cxn modelId="{C82C959C-B949-42B6-9992-79C91CEC0563}" type="presParOf" srcId="{6864C8ED-CE41-4F0B-BD7D-83EDBDEBE8DB}" destId="{A2C81F1C-98A9-4FFD-926C-7A118AEEDCF4}" srcOrd="4" destOrd="0" presId="urn:microsoft.com/office/officeart/2008/layout/LinedList"/>
    <dgm:cxn modelId="{A0C729D8-5DDC-4E6B-8003-36A98644EB10}" type="presParOf" srcId="{6864C8ED-CE41-4F0B-BD7D-83EDBDEBE8DB}" destId="{6AFAE13C-FA92-4D8B-AF76-A5E27BC95ED1}" srcOrd="5" destOrd="0" presId="urn:microsoft.com/office/officeart/2008/layout/LinedList"/>
    <dgm:cxn modelId="{A36B6A7D-3129-446C-B258-261097E03BDA}" type="presParOf" srcId="{6AFAE13C-FA92-4D8B-AF76-A5E27BC95ED1}" destId="{D92B8BFC-1998-401A-BB32-22CC57AE4193}" srcOrd="0" destOrd="0" presId="urn:microsoft.com/office/officeart/2008/layout/LinedList"/>
    <dgm:cxn modelId="{877359D1-AA98-4824-98F6-0AD8344294D4}" type="presParOf" srcId="{6AFAE13C-FA92-4D8B-AF76-A5E27BC95ED1}" destId="{13BF509C-8329-40FB-936F-4389FA1F2053}" srcOrd="1" destOrd="0" presId="urn:microsoft.com/office/officeart/2008/layout/LinedList"/>
    <dgm:cxn modelId="{0F852C41-CCDA-42AA-8F2C-B7C96FFDC849}" type="presParOf" srcId="{6864C8ED-CE41-4F0B-BD7D-83EDBDEBE8DB}" destId="{46B36447-F9CE-4114-91FF-3A75309FBCBB}" srcOrd="6" destOrd="0" presId="urn:microsoft.com/office/officeart/2008/layout/LinedList"/>
    <dgm:cxn modelId="{6F9B7C63-AF61-442B-80DC-64A9F957D1BF}" type="presParOf" srcId="{6864C8ED-CE41-4F0B-BD7D-83EDBDEBE8DB}" destId="{38733BFF-7710-4C82-86F4-940CE6535313}" srcOrd="7" destOrd="0" presId="urn:microsoft.com/office/officeart/2008/layout/LinedList"/>
    <dgm:cxn modelId="{254FABDD-BC64-4DB4-BC08-242AF874C2E1}" type="presParOf" srcId="{38733BFF-7710-4C82-86F4-940CE6535313}" destId="{18B1A157-6C03-4A54-9834-83D3A5CE77FA}" srcOrd="0" destOrd="0" presId="urn:microsoft.com/office/officeart/2008/layout/LinedList"/>
    <dgm:cxn modelId="{09237DEE-6FB7-4CE9-9B9C-34A8418397DF}" type="presParOf" srcId="{38733BFF-7710-4C82-86F4-940CE6535313}" destId="{06EFF9AC-8A9F-4963-81C4-2634C93BEFF7}" srcOrd="1" destOrd="0" presId="urn:microsoft.com/office/officeart/2008/layout/LinedList"/>
    <dgm:cxn modelId="{30A6F534-385A-4EA8-B4B1-B7A94D17ECF5}" type="presParOf" srcId="{6864C8ED-CE41-4F0B-BD7D-83EDBDEBE8DB}" destId="{E5B48737-1134-4668-842B-419557E663FE}" srcOrd="8" destOrd="0" presId="urn:microsoft.com/office/officeart/2008/layout/LinedList"/>
    <dgm:cxn modelId="{8DBB432B-4F85-4803-B03D-9E34A144A3BA}" type="presParOf" srcId="{6864C8ED-CE41-4F0B-BD7D-83EDBDEBE8DB}" destId="{5D878C48-D9D4-484A-9531-67B7B54189EA}" srcOrd="9" destOrd="0" presId="urn:microsoft.com/office/officeart/2008/layout/LinedList"/>
    <dgm:cxn modelId="{F49F437D-05BB-43E3-A385-7DE473C2CE63}" type="presParOf" srcId="{5D878C48-D9D4-484A-9531-67B7B54189EA}" destId="{91BFD212-A63B-450E-AC76-B828719BE806}" srcOrd="0" destOrd="0" presId="urn:microsoft.com/office/officeart/2008/layout/LinedList"/>
    <dgm:cxn modelId="{A70F366C-9122-45AD-9BCE-2EDB111124D4}" type="presParOf" srcId="{5D878C48-D9D4-484A-9531-67B7B54189EA}" destId="{85139AB8-EDF5-4389-B859-227F5068F74A}" srcOrd="1" destOrd="0" presId="urn:microsoft.com/office/officeart/2008/layout/LinedList"/>
    <dgm:cxn modelId="{0B7AB201-2610-44D6-A647-F987963E217B}" type="presParOf" srcId="{6864C8ED-CE41-4F0B-BD7D-83EDBDEBE8DB}" destId="{D27E0969-82ED-4EB5-8EC7-38DC45CFFE51}" srcOrd="10" destOrd="0" presId="urn:microsoft.com/office/officeart/2008/layout/LinedList"/>
    <dgm:cxn modelId="{D180A5C2-9767-4318-8599-5DB32DA2636F}" type="presParOf" srcId="{6864C8ED-CE41-4F0B-BD7D-83EDBDEBE8DB}" destId="{16305334-31AE-4E39-83ED-06D5B45E389B}" srcOrd="11" destOrd="0" presId="urn:microsoft.com/office/officeart/2008/layout/LinedList"/>
    <dgm:cxn modelId="{34CAC99B-E5D8-4E5E-BFA0-D36B72C85346}" type="presParOf" srcId="{16305334-31AE-4E39-83ED-06D5B45E389B}" destId="{74CC935D-E4C6-481C-A506-B429EDBDB83C}" srcOrd="0" destOrd="0" presId="urn:microsoft.com/office/officeart/2008/layout/LinedList"/>
    <dgm:cxn modelId="{A448AA3C-9FD3-43F0-8C5F-40C81CEBBC81}" type="presParOf" srcId="{16305334-31AE-4E39-83ED-06D5B45E389B}" destId="{76D66DC0-E0B6-4A33-8D00-157EB3733866}" srcOrd="1" destOrd="0" presId="urn:microsoft.com/office/officeart/2008/layout/LinedList"/>
    <dgm:cxn modelId="{296101F7-2653-43BE-95C1-46B0B3F18C7B}" type="presParOf" srcId="{6864C8ED-CE41-4F0B-BD7D-83EDBDEBE8DB}" destId="{63DB75B7-9EDC-41A7-B4A2-385061860107}" srcOrd="12" destOrd="0" presId="urn:microsoft.com/office/officeart/2008/layout/LinedList"/>
    <dgm:cxn modelId="{31F7B013-997C-4322-B440-8549E00F854D}" type="presParOf" srcId="{6864C8ED-CE41-4F0B-BD7D-83EDBDEBE8DB}" destId="{C350397D-69A4-4CFC-984E-5661F993E14B}" srcOrd="13" destOrd="0" presId="urn:microsoft.com/office/officeart/2008/layout/LinedList"/>
    <dgm:cxn modelId="{30833AEF-724D-4408-93C9-6415E5B93E93}" type="presParOf" srcId="{C350397D-69A4-4CFC-984E-5661F993E14B}" destId="{A334B598-3DF8-4389-86E9-D3214463F6B4}" srcOrd="0" destOrd="0" presId="urn:microsoft.com/office/officeart/2008/layout/LinedList"/>
    <dgm:cxn modelId="{814C5EDD-C3A5-4493-9BE8-6C01EC9C2EA0}" type="presParOf" srcId="{C350397D-69A4-4CFC-984E-5661F993E14B}" destId="{741AFA81-6DA7-4CAD-8B27-9A2C7429A487}"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C7BB3F0-FC61-42C2-90D3-FF1EF525DF35}"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A9D57F60-710C-4E85-B5E8-CF596F18C611}">
      <dgm:prSet phldrT="[Text]" custT="1"/>
      <dgm:spPr/>
      <dgm:t>
        <a:bodyPr/>
        <a:lstStyle/>
        <a:p>
          <a:pPr>
            <a:lnSpc>
              <a:spcPct val="100000"/>
            </a:lnSpc>
          </a:pPr>
          <a:r>
            <a:rPr lang="en-US" sz="2000" dirty="0">
              <a:solidFill>
                <a:schemeClr val="accent1"/>
              </a:solidFill>
            </a:rPr>
            <a:t>Use layman’s language and visual aids to ensure comprehension.</a:t>
          </a:r>
        </a:p>
      </dgm:t>
    </dgm:pt>
    <dgm:pt modelId="{CF4EE98C-7F42-420B-A933-F66FDAAB40E8}" type="parTrans" cxnId="{00A75F73-7F38-4CAD-BCC5-2213E8A627AF}">
      <dgm:prSet/>
      <dgm:spPr/>
      <dgm:t>
        <a:bodyPr/>
        <a:lstStyle/>
        <a:p>
          <a:endParaRPr lang="en-US" sz="2000">
            <a:solidFill>
              <a:schemeClr val="accent1"/>
            </a:solidFill>
          </a:endParaRPr>
        </a:p>
      </dgm:t>
    </dgm:pt>
    <dgm:pt modelId="{520A68E0-7BBF-4DD4-B71D-8DA77EF8507B}" type="sibTrans" cxnId="{00A75F73-7F38-4CAD-BCC5-2213E8A627AF}">
      <dgm:prSet/>
      <dgm:spPr/>
      <dgm:t>
        <a:bodyPr/>
        <a:lstStyle/>
        <a:p>
          <a:endParaRPr lang="en-US" sz="2000">
            <a:solidFill>
              <a:schemeClr val="accent1"/>
            </a:solidFill>
          </a:endParaRPr>
        </a:p>
      </dgm:t>
    </dgm:pt>
    <dgm:pt modelId="{46830339-E3DE-4FD8-8024-333CA3589467}">
      <dgm:prSet phldrT="[Text]" custT="1"/>
      <dgm:spPr/>
      <dgm:t>
        <a:bodyPr/>
        <a:lstStyle/>
        <a:p>
          <a:pPr>
            <a:lnSpc>
              <a:spcPct val="100000"/>
            </a:lnSpc>
          </a:pPr>
          <a:r>
            <a:rPr lang="en-US" sz="2000" dirty="0">
              <a:solidFill>
                <a:schemeClr val="accent1"/>
              </a:solidFill>
            </a:rPr>
            <a:t>Provide plain-language follow-up instructions and educational materials.</a:t>
          </a:r>
        </a:p>
      </dgm:t>
    </dgm:pt>
    <dgm:pt modelId="{F6F95D77-1547-440F-9635-7D156E9E0565}" type="parTrans" cxnId="{C129DD93-C63F-4FA2-8920-14E6B9F4701C}">
      <dgm:prSet/>
      <dgm:spPr/>
      <dgm:t>
        <a:bodyPr/>
        <a:lstStyle/>
        <a:p>
          <a:endParaRPr lang="en-US" sz="2000">
            <a:solidFill>
              <a:schemeClr val="accent1"/>
            </a:solidFill>
          </a:endParaRPr>
        </a:p>
      </dgm:t>
    </dgm:pt>
    <dgm:pt modelId="{EFCD0EFF-BC9B-4F09-9F8E-A37B7382FE01}" type="sibTrans" cxnId="{C129DD93-C63F-4FA2-8920-14E6B9F4701C}">
      <dgm:prSet/>
      <dgm:spPr/>
      <dgm:t>
        <a:bodyPr/>
        <a:lstStyle/>
        <a:p>
          <a:endParaRPr lang="en-US" sz="2000">
            <a:solidFill>
              <a:schemeClr val="accent1"/>
            </a:solidFill>
          </a:endParaRPr>
        </a:p>
      </dgm:t>
    </dgm:pt>
    <dgm:pt modelId="{B8407103-CBA9-4A3A-9FC1-C94FCA4F79DF}">
      <dgm:prSet phldrT="[Text]" custT="1"/>
      <dgm:spPr/>
      <dgm:t>
        <a:bodyPr/>
        <a:lstStyle/>
        <a:p>
          <a:pPr>
            <a:lnSpc>
              <a:spcPct val="100000"/>
            </a:lnSpc>
          </a:pPr>
          <a:r>
            <a:rPr lang="en-US" sz="2000" dirty="0">
              <a:solidFill>
                <a:schemeClr val="accent1"/>
              </a:solidFill>
            </a:rPr>
            <a:t>Use the teach-back technique to ensure comprehension.</a:t>
          </a:r>
        </a:p>
      </dgm:t>
    </dgm:pt>
    <dgm:pt modelId="{4E1904E7-6883-4D0B-B087-393A827F3DE3}" type="parTrans" cxnId="{7E17BCED-E5A0-40DE-9418-BDCAEB992647}">
      <dgm:prSet/>
      <dgm:spPr/>
      <dgm:t>
        <a:bodyPr/>
        <a:lstStyle/>
        <a:p>
          <a:endParaRPr lang="en-US" sz="2000">
            <a:solidFill>
              <a:schemeClr val="accent1"/>
            </a:solidFill>
          </a:endParaRPr>
        </a:p>
      </dgm:t>
    </dgm:pt>
    <dgm:pt modelId="{52548E12-3900-46B8-86FF-58D9B58AE50C}" type="sibTrans" cxnId="{7E17BCED-E5A0-40DE-9418-BDCAEB992647}">
      <dgm:prSet/>
      <dgm:spPr/>
      <dgm:t>
        <a:bodyPr/>
        <a:lstStyle/>
        <a:p>
          <a:endParaRPr lang="en-US" sz="2000">
            <a:solidFill>
              <a:schemeClr val="accent1"/>
            </a:solidFill>
          </a:endParaRPr>
        </a:p>
      </dgm:t>
    </dgm:pt>
    <dgm:pt modelId="{F99CE401-78CE-43A5-9E5E-9B65920D4D33}">
      <dgm:prSet phldrT="[Text]" custT="1"/>
      <dgm:spPr/>
      <dgm:t>
        <a:bodyPr/>
        <a:lstStyle/>
        <a:p>
          <a:pPr>
            <a:lnSpc>
              <a:spcPct val="100000"/>
            </a:lnSpc>
          </a:pPr>
          <a:r>
            <a:rPr lang="en-US" sz="2000" dirty="0">
              <a:solidFill>
                <a:schemeClr val="accent1"/>
              </a:solidFill>
            </a:rPr>
            <a:t>Encourage patients to voice questions and concerns.</a:t>
          </a:r>
        </a:p>
      </dgm:t>
    </dgm:pt>
    <dgm:pt modelId="{F6AC2547-DFAB-411B-8B15-323DA97C8CE7}" type="parTrans" cxnId="{9952F624-E821-4A0E-AD04-A0FBDB1D5F2C}">
      <dgm:prSet/>
      <dgm:spPr/>
      <dgm:t>
        <a:bodyPr/>
        <a:lstStyle/>
        <a:p>
          <a:endParaRPr lang="en-US" sz="2000">
            <a:solidFill>
              <a:schemeClr val="accent1"/>
            </a:solidFill>
          </a:endParaRPr>
        </a:p>
      </dgm:t>
    </dgm:pt>
    <dgm:pt modelId="{6580B6FD-E7CF-4F4A-A6B4-A4838DEE6B0F}" type="sibTrans" cxnId="{9952F624-E821-4A0E-AD04-A0FBDB1D5F2C}">
      <dgm:prSet/>
      <dgm:spPr/>
      <dgm:t>
        <a:bodyPr/>
        <a:lstStyle/>
        <a:p>
          <a:endParaRPr lang="en-US" sz="2000">
            <a:solidFill>
              <a:schemeClr val="accent1"/>
            </a:solidFill>
          </a:endParaRPr>
        </a:p>
      </dgm:t>
    </dgm:pt>
    <dgm:pt modelId="{8686A4D4-7FD8-4F9A-94A6-F89962CF1EF5}">
      <dgm:prSet phldrT="[Text]" custT="1"/>
      <dgm:spPr/>
      <dgm:t>
        <a:bodyPr/>
        <a:lstStyle/>
        <a:p>
          <a:pPr>
            <a:lnSpc>
              <a:spcPct val="100000"/>
            </a:lnSpc>
          </a:pPr>
          <a:r>
            <a:rPr lang="en-US" sz="2000" dirty="0">
              <a:solidFill>
                <a:schemeClr val="accent1"/>
              </a:solidFill>
            </a:rPr>
            <a:t>Consider patients’ personal and cultural preferences and values.</a:t>
          </a:r>
        </a:p>
      </dgm:t>
    </dgm:pt>
    <dgm:pt modelId="{AD75C35E-D776-42D4-B7FF-214383AE6274}" type="parTrans" cxnId="{400AD579-B672-4AD9-AD23-97CF6FC0AA76}">
      <dgm:prSet/>
      <dgm:spPr/>
      <dgm:t>
        <a:bodyPr/>
        <a:lstStyle/>
        <a:p>
          <a:endParaRPr lang="en-US" sz="2000">
            <a:solidFill>
              <a:schemeClr val="accent1"/>
            </a:solidFill>
          </a:endParaRPr>
        </a:p>
      </dgm:t>
    </dgm:pt>
    <dgm:pt modelId="{D7B04867-3EF0-42DE-9A49-6554A6954CD1}" type="sibTrans" cxnId="{400AD579-B672-4AD9-AD23-97CF6FC0AA76}">
      <dgm:prSet/>
      <dgm:spPr/>
      <dgm:t>
        <a:bodyPr/>
        <a:lstStyle/>
        <a:p>
          <a:endParaRPr lang="en-US" sz="2000">
            <a:solidFill>
              <a:schemeClr val="accent1"/>
            </a:solidFill>
          </a:endParaRPr>
        </a:p>
      </dgm:t>
    </dgm:pt>
    <dgm:pt modelId="{2B7C456A-A4CA-437A-A101-D35BFDAFEA1D}">
      <dgm:prSet phldrT="[Text]" custT="1"/>
      <dgm:spPr/>
      <dgm:t>
        <a:bodyPr/>
        <a:lstStyle/>
        <a:p>
          <a:pPr>
            <a:lnSpc>
              <a:spcPct val="100000"/>
            </a:lnSpc>
          </a:pPr>
          <a:r>
            <a:rPr lang="en-US" sz="2000" dirty="0">
              <a:solidFill>
                <a:schemeClr val="accent1"/>
              </a:solidFill>
            </a:rPr>
            <a:t>Use satisfaction surveys to gauge patient perceptions.</a:t>
          </a:r>
        </a:p>
      </dgm:t>
    </dgm:pt>
    <dgm:pt modelId="{88361C3A-B8D3-48AE-99C0-639B9CE3DA8F}" type="parTrans" cxnId="{F2850C12-0760-491B-A0AD-DB21D111663F}">
      <dgm:prSet/>
      <dgm:spPr/>
      <dgm:t>
        <a:bodyPr/>
        <a:lstStyle/>
        <a:p>
          <a:endParaRPr lang="en-US" sz="2000">
            <a:solidFill>
              <a:schemeClr val="accent1"/>
            </a:solidFill>
          </a:endParaRPr>
        </a:p>
      </dgm:t>
    </dgm:pt>
    <dgm:pt modelId="{DB95263E-789F-4C3B-934F-742F7056D3E7}" type="sibTrans" cxnId="{F2850C12-0760-491B-A0AD-DB21D111663F}">
      <dgm:prSet/>
      <dgm:spPr/>
      <dgm:t>
        <a:bodyPr/>
        <a:lstStyle/>
        <a:p>
          <a:endParaRPr lang="en-US" sz="2000">
            <a:solidFill>
              <a:schemeClr val="accent1"/>
            </a:solidFill>
          </a:endParaRPr>
        </a:p>
      </dgm:t>
    </dgm:pt>
    <dgm:pt modelId="{4A0C6123-E06D-4028-8FFB-3F7676816E72}" type="pres">
      <dgm:prSet presAssocID="{6C7BB3F0-FC61-42C2-90D3-FF1EF525DF35}" presName="vert0" presStyleCnt="0">
        <dgm:presLayoutVars>
          <dgm:dir/>
          <dgm:animOne val="branch"/>
          <dgm:animLvl val="lvl"/>
        </dgm:presLayoutVars>
      </dgm:prSet>
      <dgm:spPr/>
      <dgm:t>
        <a:bodyPr/>
        <a:lstStyle/>
        <a:p>
          <a:endParaRPr lang="en-US"/>
        </a:p>
      </dgm:t>
    </dgm:pt>
    <dgm:pt modelId="{0DD5FC92-1F3B-45F1-A72E-1E4E5A52E796}" type="pres">
      <dgm:prSet presAssocID="{A9D57F60-710C-4E85-B5E8-CF596F18C611}" presName="thickLine" presStyleLbl="alignNode1" presStyleIdx="0" presStyleCnt="6"/>
      <dgm:spPr/>
    </dgm:pt>
    <dgm:pt modelId="{0AD23A42-5041-479C-8BA0-A444762B3C0B}" type="pres">
      <dgm:prSet presAssocID="{A9D57F60-710C-4E85-B5E8-CF596F18C611}" presName="horz1" presStyleCnt="0"/>
      <dgm:spPr/>
    </dgm:pt>
    <dgm:pt modelId="{F574E77A-9FC8-41E8-B1A1-6C9C119F44DF}" type="pres">
      <dgm:prSet presAssocID="{A9D57F60-710C-4E85-B5E8-CF596F18C611}" presName="tx1" presStyleLbl="revTx" presStyleIdx="0" presStyleCnt="6"/>
      <dgm:spPr/>
      <dgm:t>
        <a:bodyPr/>
        <a:lstStyle/>
        <a:p>
          <a:endParaRPr lang="en-US"/>
        </a:p>
      </dgm:t>
    </dgm:pt>
    <dgm:pt modelId="{F3725EE3-734F-4997-BA1E-F7D136A2D652}" type="pres">
      <dgm:prSet presAssocID="{A9D57F60-710C-4E85-B5E8-CF596F18C611}" presName="vert1" presStyleCnt="0"/>
      <dgm:spPr/>
    </dgm:pt>
    <dgm:pt modelId="{3169A1C5-9521-4650-A845-70FCF4C61563}" type="pres">
      <dgm:prSet presAssocID="{46830339-E3DE-4FD8-8024-333CA3589467}" presName="thickLine" presStyleLbl="alignNode1" presStyleIdx="1" presStyleCnt="6"/>
      <dgm:spPr/>
    </dgm:pt>
    <dgm:pt modelId="{41351FC1-D729-4698-969A-25346DDE0784}" type="pres">
      <dgm:prSet presAssocID="{46830339-E3DE-4FD8-8024-333CA3589467}" presName="horz1" presStyleCnt="0"/>
      <dgm:spPr/>
    </dgm:pt>
    <dgm:pt modelId="{D402452D-0668-4797-8682-CEC010F9EE3E}" type="pres">
      <dgm:prSet presAssocID="{46830339-E3DE-4FD8-8024-333CA3589467}" presName="tx1" presStyleLbl="revTx" presStyleIdx="1" presStyleCnt="6"/>
      <dgm:spPr/>
      <dgm:t>
        <a:bodyPr/>
        <a:lstStyle/>
        <a:p>
          <a:endParaRPr lang="en-US"/>
        </a:p>
      </dgm:t>
    </dgm:pt>
    <dgm:pt modelId="{D72164BF-C7F2-41D3-84F2-ED1316C660F2}" type="pres">
      <dgm:prSet presAssocID="{46830339-E3DE-4FD8-8024-333CA3589467}" presName="vert1" presStyleCnt="0"/>
      <dgm:spPr/>
    </dgm:pt>
    <dgm:pt modelId="{7B824CDD-60AD-4239-B936-2B9685CC941B}" type="pres">
      <dgm:prSet presAssocID="{B8407103-CBA9-4A3A-9FC1-C94FCA4F79DF}" presName="thickLine" presStyleLbl="alignNode1" presStyleIdx="2" presStyleCnt="6"/>
      <dgm:spPr/>
    </dgm:pt>
    <dgm:pt modelId="{54371831-A9D4-46FF-8CFD-9FA804E3E9C0}" type="pres">
      <dgm:prSet presAssocID="{B8407103-CBA9-4A3A-9FC1-C94FCA4F79DF}" presName="horz1" presStyleCnt="0"/>
      <dgm:spPr/>
    </dgm:pt>
    <dgm:pt modelId="{5B25DA4D-EE14-4BEE-AE81-DA5EF38C1739}" type="pres">
      <dgm:prSet presAssocID="{B8407103-CBA9-4A3A-9FC1-C94FCA4F79DF}" presName="tx1" presStyleLbl="revTx" presStyleIdx="2" presStyleCnt="6"/>
      <dgm:spPr/>
      <dgm:t>
        <a:bodyPr/>
        <a:lstStyle/>
        <a:p>
          <a:endParaRPr lang="en-US"/>
        </a:p>
      </dgm:t>
    </dgm:pt>
    <dgm:pt modelId="{F220D554-4E9D-4EF2-B528-DD4812FA8DA4}" type="pres">
      <dgm:prSet presAssocID="{B8407103-CBA9-4A3A-9FC1-C94FCA4F79DF}" presName="vert1" presStyleCnt="0"/>
      <dgm:spPr/>
    </dgm:pt>
    <dgm:pt modelId="{565525A1-2055-46BE-AB8C-85BCB14467A9}" type="pres">
      <dgm:prSet presAssocID="{F99CE401-78CE-43A5-9E5E-9B65920D4D33}" presName="thickLine" presStyleLbl="alignNode1" presStyleIdx="3" presStyleCnt="6"/>
      <dgm:spPr/>
    </dgm:pt>
    <dgm:pt modelId="{B6E5812B-06BA-4411-938A-96516D5A4A51}" type="pres">
      <dgm:prSet presAssocID="{F99CE401-78CE-43A5-9E5E-9B65920D4D33}" presName="horz1" presStyleCnt="0"/>
      <dgm:spPr/>
    </dgm:pt>
    <dgm:pt modelId="{2B299A17-52F4-4688-B59F-63F18AEE3868}" type="pres">
      <dgm:prSet presAssocID="{F99CE401-78CE-43A5-9E5E-9B65920D4D33}" presName="tx1" presStyleLbl="revTx" presStyleIdx="3" presStyleCnt="6"/>
      <dgm:spPr/>
      <dgm:t>
        <a:bodyPr/>
        <a:lstStyle/>
        <a:p>
          <a:endParaRPr lang="en-US"/>
        </a:p>
      </dgm:t>
    </dgm:pt>
    <dgm:pt modelId="{AF85951C-6282-43A6-9364-82050E241605}" type="pres">
      <dgm:prSet presAssocID="{F99CE401-78CE-43A5-9E5E-9B65920D4D33}" presName="vert1" presStyleCnt="0"/>
      <dgm:spPr/>
    </dgm:pt>
    <dgm:pt modelId="{287EA983-1ECB-49CA-B9A9-EABD62303F68}" type="pres">
      <dgm:prSet presAssocID="{8686A4D4-7FD8-4F9A-94A6-F89962CF1EF5}" presName="thickLine" presStyleLbl="alignNode1" presStyleIdx="4" presStyleCnt="6"/>
      <dgm:spPr/>
    </dgm:pt>
    <dgm:pt modelId="{079A813F-2526-4D66-83F1-051F018CE0BA}" type="pres">
      <dgm:prSet presAssocID="{8686A4D4-7FD8-4F9A-94A6-F89962CF1EF5}" presName="horz1" presStyleCnt="0"/>
      <dgm:spPr/>
    </dgm:pt>
    <dgm:pt modelId="{3352FC78-63FE-4830-BEA0-49482991FA4B}" type="pres">
      <dgm:prSet presAssocID="{8686A4D4-7FD8-4F9A-94A6-F89962CF1EF5}" presName="tx1" presStyleLbl="revTx" presStyleIdx="4" presStyleCnt="6"/>
      <dgm:spPr/>
      <dgm:t>
        <a:bodyPr/>
        <a:lstStyle/>
        <a:p>
          <a:endParaRPr lang="en-US"/>
        </a:p>
      </dgm:t>
    </dgm:pt>
    <dgm:pt modelId="{C252D40E-AA16-4042-A83A-12B87D7B655A}" type="pres">
      <dgm:prSet presAssocID="{8686A4D4-7FD8-4F9A-94A6-F89962CF1EF5}" presName="vert1" presStyleCnt="0"/>
      <dgm:spPr/>
    </dgm:pt>
    <dgm:pt modelId="{71956507-5F2C-4116-B21E-E81758D39D1D}" type="pres">
      <dgm:prSet presAssocID="{2B7C456A-A4CA-437A-A101-D35BFDAFEA1D}" presName="thickLine" presStyleLbl="alignNode1" presStyleIdx="5" presStyleCnt="6"/>
      <dgm:spPr/>
    </dgm:pt>
    <dgm:pt modelId="{DAE754A9-9CFF-4480-A15C-915363731E41}" type="pres">
      <dgm:prSet presAssocID="{2B7C456A-A4CA-437A-A101-D35BFDAFEA1D}" presName="horz1" presStyleCnt="0"/>
      <dgm:spPr/>
    </dgm:pt>
    <dgm:pt modelId="{9C09171F-EB4A-40B1-8EC1-85A93804E63B}" type="pres">
      <dgm:prSet presAssocID="{2B7C456A-A4CA-437A-A101-D35BFDAFEA1D}" presName="tx1" presStyleLbl="revTx" presStyleIdx="5" presStyleCnt="6"/>
      <dgm:spPr/>
      <dgm:t>
        <a:bodyPr/>
        <a:lstStyle/>
        <a:p>
          <a:endParaRPr lang="en-US"/>
        </a:p>
      </dgm:t>
    </dgm:pt>
    <dgm:pt modelId="{40068EC4-E215-4A2D-907A-BC953A50E21A}" type="pres">
      <dgm:prSet presAssocID="{2B7C456A-A4CA-437A-A101-D35BFDAFEA1D}" presName="vert1" presStyleCnt="0"/>
      <dgm:spPr/>
    </dgm:pt>
  </dgm:ptLst>
  <dgm:cxnLst>
    <dgm:cxn modelId="{AEEA5B7A-9E0B-4959-AE85-3C068B2EBB62}" type="presOf" srcId="{6C7BB3F0-FC61-42C2-90D3-FF1EF525DF35}" destId="{4A0C6123-E06D-4028-8FFB-3F7676816E72}" srcOrd="0" destOrd="0" presId="urn:microsoft.com/office/officeart/2008/layout/LinedList"/>
    <dgm:cxn modelId="{C129DD93-C63F-4FA2-8920-14E6B9F4701C}" srcId="{6C7BB3F0-FC61-42C2-90D3-FF1EF525DF35}" destId="{46830339-E3DE-4FD8-8024-333CA3589467}" srcOrd="1" destOrd="0" parTransId="{F6F95D77-1547-440F-9635-7D156E9E0565}" sibTransId="{EFCD0EFF-BC9B-4F09-9F8E-A37B7382FE01}"/>
    <dgm:cxn modelId="{F2850C12-0760-491B-A0AD-DB21D111663F}" srcId="{6C7BB3F0-FC61-42C2-90D3-FF1EF525DF35}" destId="{2B7C456A-A4CA-437A-A101-D35BFDAFEA1D}" srcOrd="5" destOrd="0" parTransId="{88361C3A-B8D3-48AE-99C0-639B9CE3DA8F}" sibTransId="{DB95263E-789F-4C3B-934F-742F7056D3E7}"/>
    <dgm:cxn modelId="{0319A70B-9699-4D3C-A334-B990B9DD0B86}" type="presOf" srcId="{A9D57F60-710C-4E85-B5E8-CF596F18C611}" destId="{F574E77A-9FC8-41E8-B1A1-6C9C119F44DF}" srcOrd="0" destOrd="0" presId="urn:microsoft.com/office/officeart/2008/layout/LinedList"/>
    <dgm:cxn modelId="{32DDE7F9-A7D8-41E6-881E-FDA7B8832E15}" type="presOf" srcId="{F99CE401-78CE-43A5-9E5E-9B65920D4D33}" destId="{2B299A17-52F4-4688-B59F-63F18AEE3868}" srcOrd="0" destOrd="0" presId="urn:microsoft.com/office/officeart/2008/layout/LinedList"/>
    <dgm:cxn modelId="{6FB964EA-844E-4D16-A8F0-1E69AF5524D7}" type="presOf" srcId="{B8407103-CBA9-4A3A-9FC1-C94FCA4F79DF}" destId="{5B25DA4D-EE14-4BEE-AE81-DA5EF38C1739}" srcOrd="0" destOrd="0" presId="urn:microsoft.com/office/officeart/2008/layout/LinedList"/>
    <dgm:cxn modelId="{7E17BCED-E5A0-40DE-9418-BDCAEB992647}" srcId="{6C7BB3F0-FC61-42C2-90D3-FF1EF525DF35}" destId="{B8407103-CBA9-4A3A-9FC1-C94FCA4F79DF}" srcOrd="2" destOrd="0" parTransId="{4E1904E7-6883-4D0B-B087-393A827F3DE3}" sibTransId="{52548E12-3900-46B8-86FF-58D9B58AE50C}"/>
    <dgm:cxn modelId="{9952F624-E821-4A0E-AD04-A0FBDB1D5F2C}" srcId="{6C7BB3F0-FC61-42C2-90D3-FF1EF525DF35}" destId="{F99CE401-78CE-43A5-9E5E-9B65920D4D33}" srcOrd="3" destOrd="0" parTransId="{F6AC2547-DFAB-411B-8B15-323DA97C8CE7}" sibTransId="{6580B6FD-E7CF-4F4A-A6B4-A4838DEE6B0F}"/>
    <dgm:cxn modelId="{3674B8BE-E678-4D84-B94C-1829E70C6DF4}" type="presOf" srcId="{2B7C456A-A4CA-437A-A101-D35BFDAFEA1D}" destId="{9C09171F-EB4A-40B1-8EC1-85A93804E63B}" srcOrd="0" destOrd="0" presId="urn:microsoft.com/office/officeart/2008/layout/LinedList"/>
    <dgm:cxn modelId="{00A75F73-7F38-4CAD-BCC5-2213E8A627AF}" srcId="{6C7BB3F0-FC61-42C2-90D3-FF1EF525DF35}" destId="{A9D57F60-710C-4E85-B5E8-CF596F18C611}" srcOrd="0" destOrd="0" parTransId="{CF4EE98C-7F42-420B-A933-F66FDAAB40E8}" sibTransId="{520A68E0-7BBF-4DD4-B71D-8DA77EF8507B}"/>
    <dgm:cxn modelId="{A13BBA54-2313-46DD-95D7-7F2CEDD3D2D6}" type="presOf" srcId="{8686A4D4-7FD8-4F9A-94A6-F89962CF1EF5}" destId="{3352FC78-63FE-4830-BEA0-49482991FA4B}" srcOrd="0" destOrd="0" presId="urn:microsoft.com/office/officeart/2008/layout/LinedList"/>
    <dgm:cxn modelId="{400AD579-B672-4AD9-AD23-97CF6FC0AA76}" srcId="{6C7BB3F0-FC61-42C2-90D3-FF1EF525DF35}" destId="{8686A4D4-7FD8-4F9A-94A6-F89962CF1EF5}" srcOrd="4" destOrd="0" parTransId="{AD75C35E-D776-42D4-B7FF-214383AE6274}" sibTransId="{D7B04867-3EF0-42DE-9A49-6554A6954CD1}"/>
    <dgm:cxn modelId="{C7084C4C-B49E-44CA-9133-27FD4712C840}" type="presOf" srcId="{46830339-E3DE-4FD8-8024-333CA3589467}" destId="{D402452D-0668-4797-8682-CEC010F9EE3E}" srcOrd="0" destOrd="0" presId="urn:microsoft.com/office/officeart/2008/layout/LinedList"/>
    <dgm:cxn modelId="{E503A254-DCCD-4BDE-A1E9-993388E39CC0}" type="presParOf" srcId="{4A0C6123-E06D-4028-8FFB-3F7676816E72}" destId="{0DD5FC92-1F3B-45F1-A72E-1E4E5A52E796}" srcOrd="0" destOrd="0" presId="urn:microsoft.com/office/officeart/2008/layout/LinedList"/>
    <dgm:cxn modelId="{D0F1464E-64AB-4066-9311-000787685F3A}" type="presParOf" srcId="{4A0C6123-E06D-4028-8FFB-3F7676816E72}" destId="{0AD23A42-5041-479C-8BA0-A444762B3C0B}" srcOrd="1" destOrd="0" presId="urn:microsoft.com/office/officeart/2008/layout/LinedList"/>
    <dgm:cxn modelId="{4DA39710-329A-467D-93AD-FDE5F601502E}" type="presParOf" srcId="{0AD23A42-5041-479C-8BA0-A444762B3C0B}" destId="{F574E77A-9FC8-41E8-B1A1-6C9C119F44DF}" srcOrd="0" destOrd="0" presId="urn:microsoft.com/office/officeart/2008/layout/LinedList"/>
    <dgm:cxn modelId="{2E2D85EF-EA92-4371-85DC-057487AF1C93}" type="presParOf" srcId="{0AD23A42-5041-479C-8BA0-A444762B3C0B}" destId="{F3725EE3-734F-4997-BA1E-F7D136A2D652}" srcOrd="1" destOrd="0" presId="urn:microsoft.com/office/officeart/2008/layout/LinedList"/>
    <dgm:cxn modelId="{7883EE6A-94B3-46CD-90BA-E2FCB6489D8A}" type="presParOf" srcId="{4A0C6123-E06D-4028-8FFB-3F7676816E72}" destId="{3169A1C5-9521-4650-A845-70FCF4C61563}" srcOrd="2" destOrd="0" presId="urn:microsoft.com/office/officeart/2008/layout/LinedList"/>
    <dgm:cxn modelId="{83457917-12D3-4B1F-A43B-2032775EC341}" type="presParOf" srcId="{4A0C6123-E06D-4028-8FFB-3F7676816E72}" destId="{41351FC1-D729-4698-969A-25346DDE0784}" srcOrd="3" destOrd="0" presId="urn:microsoft.com/office/officeart/2008/layout/LinedList"/>
    <dgm:cxn modelId="{BF01EECF-383D-4337-BD29-56E49E87E6F8}" type="presParOf" srcId="{41351FC1-D729-4698-969A-25346DDE0784}" destId="{D402452D-0668-4797-8682-CEC010F9EE3E}" srcOrd="0" destOrd="0" presId="urn:microsoft.com/office/officeart/2008/layout/LinedList"/>
    <dgm:cxn modelId="{07974435-CC42-4269-90FE-E74EE94FAE94}" type="presParOf" srcId="{41351FC1-D729-4698-969A-25346DDE0784}" destId="{D72164BF-C7F2-41D3-84F2-ED1316C660F2}" srcOrd="1" destOrd="0" presId="urn:microsoft.com/office/officeart/2008/layout/LinedList"/>
    <dgm:cxn modelId="{9263E9FA-03D4-49EF-906F-9843F57D76DF}" type="presParOf" srcId="{4A0C6123-E06D-4028-8FFB-3F7676816E72}" destId="{7B824CDD-60AD-4239-B936-2B9685CC941B}" srcOrd="4" destOrd="0" presId="urn:microsoft.com/office/officeart/2008/layout/LinedList"/>
    <dgm:cxn modelId="{D136F1C7-9E55-4085-B6A9-FFAFC25DAE75}" type="presParOf" srcId="{4A0C6123-E06D-4028-8FFB-3F7676816E72}" destId="{54371831-A9D4-46FF-8CFD-9FA804E3E9C0}" srcOrd="5" destOrd="0" presId="urn:microsoft.com/office/officeart/2008/layout/LinedList"/>
    <dgm:cxn modelId="{C1B97DD3-7DAF-49A9-8AED-7496584A18F4}" type="presParOf" srcId="{54371831-A9D4-46FF-8CFD-9FA804E3E9C0}" destId="{5B25DA4D-EE14-4BEE-AE81-DA5EF38C1739}" srcOrd="0" destOrd="0" presId="urn:microsoft.com/office/officeart/2008/layout/LinedList"/>
    <dgm:cxn modelId="{F5054629-4F57-4EE9-9392-5923BC03CA57}" type="presParOf" srcId="{54371831-A9D4-46FF-8CFD-9FA804E3E9C0}" destId="{F220D554-4E9D-4EF2-B528-DD4812FA8DA4}" srcOrd="1" destOrd="0" presId="urn:microsoft.com/office/officeart/2008/layout/LinedList"/>
    <dgm:cxn modelId="{469BF52B-CA50-43C8-BE29-E28C7F47DA4F}" type="presParOf" srcId="{4A0C6123-E06D-4028-8FFB-3F7676816E72}" destId="{565525A1-2055-46BE-AB8C-85BCB14467A9}" srcOrd="6" destOrd="0" presId="urn:microsoft.com/office/officeart/2008/layout/LinedList"/>
    <dgm:cxn modelId="{AA11FB56-5894-4473-BC1B-79B4F8357E2A}" type="presParOf" srcId="{4A0C6123-E06D-4028-8FFB-3F7676816E72}" destId="{B6E5812B-06BA-4411-938A-96516D5A4A51}" srcOrd="7" destOrd="0" presId="urn:microsoft.com/office/officeart/2008/layout/LinedList"/>
    <dgm:cxn modelId="{5D1C9AC3-358A-49E6-B7B8-AE62162E05E3}" type="presParOf" srcId="{B6E5812B-06BA-4411-938A-96516D5A4A51}" destId="{2B299A17-52F4-4688-B59F-63F18AEE3868}" srcOrd="0" destOrd="0" presId="urn:microsoft.com/office/officeart/2008/layout/LinedList"/>
    <dgm:cxn modelId="{CD12A603-7C25-4EC6-B898-56692660E6FD}" type="presParOf" srcId="{B6E5812B-06BA-4411-938A-96516D5A4A51}" destId="{AF85951C-6282-43A6-9364-82050E241605}" srcOrd="1" destOrd="0" presId="urn:microsoft.com/office/officeart/2008/layout/LinedList"/>
    <dgm:cxn modelId="{3FD06C00-4DEE-4499-B436-6865E10D0230}" type="presParOf" srcId="{4A0C6123-E06D-4028-8FFB-3F7676816E72}" destId="{287EA983-1ECB-49CA-B9A9-EABD62303F68}" srcOrd="8" destOrd="0" presId="urn:microsoft.com/office/officeart/2008/layout/LinedList"/>
    <dgm:cxn modelId="{F978AB8F-E7D8-492E-B65B-D2725E718AAB}" type="presParOf" srcId="{4A0C6123-E06D-4028-8FFB-3F7676816E72}" destId="{079A813F-2526-4D66-83F1-051F018CE0BA}" srcOrd="9" destOrd="0" presId="urn:microsoft.com/office/officeart/2008/layout/LinedList"/>
    <dgm:cxn modelId="{3F3A2683-C2DC-4E93-9B00-FC3E05FECF3D}" type="presParOf" srcId="{079A813F-2526-4D66-83F1-051F018CE0BA}" destId="{3352FC78-63FE-4830-BEA0-49482991FA4B}" srcOrd="0" destOrd="0" presId="urn:microsoft.com/office/officeart/2008/layout/LinedList"/>
    <dgm:cxn modelId="{E44262AC-1C2B-4566-9EA8-458B2DB0BEBF}" type="presParOf" srcId="{079A813F-2526-4D66-83F1-051F018CE0BA}" destId="{C252D40E-AA16-4042-A83A-12B87D7B655A}" srcOrd="1" destOrd="0" presId="urn:microsoft.com/office/officeart/2008/layout/LinedList"/>
    <dgm:cxn modelId="{E19009FC-60CC-4BED-956D-923BD89E9777}" type="presParOf" srcId="{4A0C6123-E06D-4028-8FFB-3F7676816E72}" destId="{71956507-5F2C-4116-B21E-E81758D39D1D}" srcOrd="10" destOrd="0" presId="urn:microsoft.com/office/officeart/2008/layout/LinedList"/>
    <dgm:cxn modelId="{31584503-8EC6-43DA-9591-7101A5B2AD95}" type="presParOf" srcId="{4A0C6123-E06D-4028-8FFB-3F7676816E72}" destId="{DAE754A9-9CFF-4480-A15C-915363731E41}" srcOrd="11" destOrd="0" presId="urn:microsoft.com/office/officeart/2008/layout/LinedList"/>
    <dgm:cxn modelId="{528C6BE2-9AD5-4067-971E-B3EE75DBD03B}" type="presParOf" srcId="{DAE754A9-9CFF-4480-A15C-915363731E41}" destId="{9C09171F-EB4A-40B1-8EC1-85A93804E63B}" srcOrd="0" destOrd="0" presId="urn:microsoft.com/office/officeart/2008/layout/LinedList"/>
    <dgm:cxn modelId="{ADE6DD91-CBC1-4F46-B951-6767F3CD898E}" type="presParOf" srcId="{DAE754A9-9CFF-4480-A15C-915363731E41}" destId="{40068EC4-E215-4A2D-907A-BC953A50E21A}"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79FB4A9-D936-4DBE-8013-773EDD3E387A}" type="doc">
      <dgm:prSet loTypeId="urn:microsoft.com/office/officeart/2005/8/layout/default" loCatId="list" qsTypeId="urn:microsoft.com/office/officeart/2005/8/quickstyle/simple1" qsCatId="simple" csTypeId="urn:microsoft.com/office/officeart/2005/8/colors/colorful3" csCatId="colorful" phldr="1"/>
      <dgm:spPr/>
      <dgm:t>
        <a:bodyPr/>
        <a:lstStyle/>
        <a:p>
          <a:endParaRPr lang="en-US"/>
        </a:p>
      </dgm:t>
    </dgm:pt>
    <dgm:pt modelId="{C529EF56-4791-4CCB-8EDD-22A4F3484790}">
      <dgm:prSet custT="1"/>
      <dgm:spPr>
        <a:solidFill>
          <a:schemeClr val="accent1"/>
        </a:solidFill>
      </dgm:spPr>
      <dgm:t>
        <a:bodyPr/>
        <a:lstStyle/>
        <a:p>
          <a:pPr rtl="0"/>
          <a:r>
            <a:rPr lang="en-US" sz="2400" dirty="0"/>
            <a:t>Policies and procedures (code of conduct)</a:t>
          </a:r>
        </a:p>
      </dgm:t>
    </dgm:pt>
    <dgm:pt modelId="{413A4708-D649-4E02-A0EF-9BE64A81D206}" type="parTrans" cxnId="{1C730BD3-A872-446E-AA51-7A9287B0A447}">
      <dgm:prSet/>
      <dgm:spPr/>
      <dgm:t>
        <a:bodyPr/>
        <a:lstStyle/>
        <a:p>
          <a:endParaRPr lang="en-US" sz="2400"/>
        </a:p>
      </dgm:t>
    </dgm:pt>
    <dgm:pt modelId="{76546069-F34E-4A0C-8288-A5F29DCCFB2E}" type="sibTrans" cxnId="{1C730BD3-A872-446E-AA51-7A9287B0A447}">
      <dgm:prSet/>
      <dgm:spPr/>
      <dgm:t>
        <a:bodyPr/>
        <a:lstStyle/>
        <a:p>
          <a:endParaRPr lang="en-US" sz="2400"/>
        </a:p>
      </dgm:t>
    </dgm:pt>
    <dgm:pt modelId="{2675AA26-FED3-4CB4-8301-F4D166D89482}">
      <dgm:prSet custT="1"/>
      <dgm:spPr>
        <a:solidFill>
          <a:srgbClr val="005EC0"/>
        </a:solidFill>
      </dgm:spPr>
      <dgm:t>
        <a:bodyPr/>
        <a:lstStyle/>
        <a:p>
          <a:pPr rtl="0"/>
          <a:r>
            <a:rPr lang="en-US" sz="2400" dirty="0"/>
            <a:t>Medical executive committee and leadership support</a:t>
          </a:r>
        </a:p>
      </dgm:t>
    </dgm:pt>
    <dgm:pt modelId="{742AB6C8-900B-4CF6-B00D-52A66673531D}" type="parTrans" cxnId="{A91AA30D-4260-447C-B2E1-65BB85F1AB9A}">
      <dgm:prSet/>
      <dgm:spPr/>
      <dgm:t>
        <a:bodyPr/>
        <a:lstStyle/>
        <a:p>
          <a:endParaRPr lang="en-US" sz="2400"/>
        </a:p>
      </dgm:t>
    </dgm:pt>
    <dgm:pt modelId="{21DD0E8D-2B82-409E-800D-4C6EFA808439}" type="sibTrans" cxnId="{A91AA30D-4260-447C-B2E1-65BB85F1AB9A}">
      <dgm:prSet/>
      <dgm:spPr/>
      <dgm:t>
        <a:bodyPr/>
        <a:lstStyle/>
        <a:p>
          <a:endParaRPr lang="en-US" sz="2400"/>
        </a:p>
      </dgm:t>
    </dgm:pt>
    <dgm:pt modelId="{4B53A482-81D0-438D-9D3A-8ABC6CD55408}">
      <dgm:prSet custT="1"/>
      <dgm:spPr>
        <a:solidFill>
          <a:srgbClr val="0373FF"/>
        </a:solidFill>
      </dgm:spPr>
      <dgm:t>
        <a:bodyPr/>
        <a:lstStyle/>
        <a:p>
          <a:pPr rtl="0"/>
          <a:r>
            <a:rPr lang="en-US" sz="2400" dirty="0"/>
            <a:t>Early intervention and monitoring</a:t>
          </a:r>
        </a:p>
      </dgm:t>
    </dgm:pt>
    <dgm:pt modelId="{C0AB2EFA-C070-4501-926E-26AC22F4CDFD}" type="parTrans" cxnId="{20007F51-B460-41BA-B8CB-400EF8DA0CAD}">
      <dgm:prSet/>
      <dgm:spPr/>
      <dgm:t>
        <a:bodyPr/>
        <a:lstStyle/>
        <a:p>
          <a:endParaRPr lang="en-US" sz="2400"/>
        </a:p>
      </dgm:t>
    </dgm:pt>
    <dgm:pt modelId="{3391A717-C655-4581-8B61-7E31C5B57B63}" type="sibTrans" cxnId="{20007F51-B460-41BA-B8CB-400EF8DA0CAD}">
      <dgm:prSet/>
      <dgm:spPr/>
      <dgm:t>
        <a:bodyPr/>
        <a:lstStyle/>
        <a:p>
          <a:endParaRPr lang="en-US" sz="2400"/>
        </a:p>
      </dgm:t>
    </dgm:pt>
    <dgm:pt modelId="{208FB1AD-72FA-44C5-A7C2-5D5E6FDB5532}">
      <dgm:prSet custT="1"/>
      <dgm:spPr>
        <a:solidFill>
          <a:schemeClr val="accent3"/>
        </a:solidFill>
      </dgm:spPr>
      <dgm:t>
        <a:bodyPr/>
        <a:lstStyle/>
        <a:p>
          <a:pPr rtl="0"/>
          <a:r>
            <a:rPr lang="en-US" sz="2400" dirty="0"/>
            <a:t>Staff education and team training</a:t>
          </a:r>
        </a:p>
      </dgm:t>
    </dgm:pt>
    <dgm:pt modelId="{3F7EA2AE-9481-40CC-B0C3-0AB9725DA6C3}" type="parTrans" cxnId="{EEA18D3B-52B7-478A-90D7-BC1C8665D683}">
      <dgm:prSet/>
      <dgm:spPr/>
      <dgm:t>
        <a:bodyPr/>
        <a:lstStyle/>
        <a:p>
          <a:endParaRPr lang="en-US" sz="2400"/>
        </a:p>
      </dgm:t>
    </dgm:pt>
    <dgm:pt modelId="{BC3D1604-A8E0-49D0-9282-68A1261B32DA}" type="sibTrans" cxnId="{EEA18D3B-52B7-478A-90D7-BC1C8665D683}">
      <dgm:prSet/>
      <dgm:spPr/>
      <dgm:t>
        <a:bodyPr/>
        <a:lstStyle/>
        <a:p>
          <a:endParaRPr lang="en-US" sz="2400"/>
        </a:p>
      </dgm:t>
    </dgm:pt>
    <dgm:pt modelId="{0A8C22F1-612E-4328-B59A-57C5C46CA4D2}">
      <dgm:prSet custT="1"/>
      <dgm:spPr>
        <a:solidFill>
          <a:srgbClr val="21D3FF"/>
        </a:solidFill>
      </dgm:spPr>
      <dgm:t>
        <a:bodyPr/>
        <a:lstStyle/>
        <a:p>
          <a:pPr rtl="0"/>
          <a:r>
            <a:rPr lang="en-US" sz="2400" dirty="0"/>
            <a:t>Handoff procedures, e.g., situation, background, assessment, recommendation (SBAR)</a:t>
          </a:r>
        </a:p>
      </dgm:t>
    </dgm:pt>
    <dgm:pt modelId="{9EA3627B-D94B-4B5C-8336-C9A45A074C69}" type="parTrans" cxnId="{BB138F2B-E665-4A75-928E-A7BC6320D67A}">
      <dgm:prSet/>
      <dgm:spPr/>
      <dgm:t>
        <a:bodyPr/>
        <a:lstStyle/>
        <a:p>
          <a:endParaRPr lang="en-US" sz="2400"/>
        </a:p>
      </dgm:t>
    </dgm:pt>
    <dgm:pt modelId="{95E7A5F5-517B-49E3-80A2-036DA31CDC1F}" type="sibTrans" cxnId="{BB138F2B-E665-4A75-928E-A7BC6320D67A}">
      <dgm:prSet/>
      <dgm:spPr/>
      <dgm:t>
        <a:bodyPr/>
        <a:lstStyle/>
        <a:p>
          <a:endParaRPr lang="en-US" sz="2400"/>
        </a:p>
      </dgm:t>
    </dgm:pt>
    <dgm:pt modelId="{15899E5D-6D6E-4E4C-9A2D-BE9F1B0AC0C1}">
      <dgm:prSet custT="1"/>
      <dgm:spPr>
        <a:solidFill>
          <a:schemeClr val="accent2"/>
        </a:solidFill>
      </dgm:spPr>
      <dgm:t>
        <a:bodyPr/>
        <a:lstStyle/>
        <a:p>
          <a:pPr rtl="0"/>
          <a:r>
            <a:rPr lang="en-US" sz="2400" dirty="0"/>
            <a:t>Culture of safety surveys</a:t>
          </a:r>
        </a:p>
      </dgm:t>
    </dgm:pt>
    <dgm:pt modelId="{2F99082C-5064-4152-8B43-AAAD57B42583}" type="parTrans" cxnId="{C60F7851-CA17-446F-9350-BD2D0A4392C0}">
      <dgm:prSet/>
      <dgm:spPr/>
      <dgm:t>
        <a:bodyPr/>
        <a:lstStyle/>
        <a:p>
          <a:endParaRPr lang="en-US" sz="2400"/>
        </a:p>
      </dgm:t>
    </dgm:pt>
    <dgm:pt modelId="{0D2EB3FD-3D60-4A0A-969B-3C8FE08FA322}" type="sibTrans" cxnId="{C60F7851-CA17-446F-9350-BD2D0A4392C0}">
      <dgm:prSet/>
      <dgm:spPr/>
      <dgm:t>
        <a:bodyPr/>
        <a:lstStyle/>
        <a:p>
          <a:endParaRPr lang="en-US" sz="2400"/>
        </a:p>
      </dgm:t>
    </dgm:pt>
    <dgm:pt modelId="{04BC0CB8-CB5E-4025-AFA9-E76EAAE808F5}" type="pres">
      <dgm:prSet presAssocID="{C79FB4A9-D936-4DBE-8013-773EDD3E387A}" presName="diagram" presStyleCnt="0">
        <dgm:presLayoutVars>
          <dgm:dir/>
          <dgm:resizeHandles val="exact"/>
        </dgm:presLayoutVars>
      </dgm:prSet>
      <dgm:spPr/>
      <dgm:t>
        <a:bodyPr/>
        <a:lstStyle/>
        <a:p>
          <a:endParaRPr lang="en-US"/>
        </a:p>
      </dgm:t>
    </dgm:pt>
    <dgm:pt modelId="{26E0ACC7-2CAE-438D-A37B-7458EEF818BB}" type="pres">
      <dgm:prSet presAssocID="{C529EF56-4791-4CCB-8EDD-22A4F3484790}" presName="node" presStyleLbl="node1" presStyleIdx="0" presStyleCnt="6">
        <dgm:presLayoutVars>
          <dgm:bulletEnabled val="1"/>
        </dgm:presLayoutVars>
      </dgm:prSet>
      <dgm:spPr/>
      <dgm:t>
        <a:bodyPr/>
        <a:lstStyle/>
        <a:p>
          <a:endParaRPr lang="en-US"/>
        </a:p>
      </dgm:t>
    </dgm:pt>
    <dgm:pt modelId="{C32C6ACB-9F13-464C-A430-635F4D18D44D}" type="pres">
      <dgm:prSet presAssocID="{76546069-F34E-4A0C-8288-A5F29DCCFB2E}" presName="sibTrans" presStyleCnt="0"/>
      <dgm:spPr/>
    </dgm:pt>
    <dgm:pt modelId="{C200E4BE-2E54-47F1-A6D9-6A90A876D3B9}" type="pres">
      <dgm:prSet presAssocID="{2675AA26-FED3-4CB4-8301-F4D166D89482}" presName="node" presStyleLbl="node1" presStyleIdx="1" presStyleCnt="6">
        <dgm:presLayoutVars>
          <dgm:bulletEnabled val="1"/>
        </dgm:presLayoutVars>
      </dgm:prSet>
      <dgm:spPr/>
      <dgm:t>
        <a:bodyPr/>
        <a:lstStyle/>
        <a:p>
          <a:endParaRPr lang="en-US"/>
        </a:p>
      </dgm:t>
    </dgm:pt>
    <dgm:pt modelId="{B07D1CDF-C24B-48CD-87F0-E05DCCB36CAE}" type="pres">
      <dgm:prSet presAssocID="{21DD0E8D-2B82-409E-800D-4C6EFA808439}" presName="sibTrans" presStyleCnt="0"/>
      <dgm:spPr/>
    </dgm:pt>
    <dgm:pt modelId="{0529BDF4-F6E4-48FE-B4C0-445640F95CD9}" type="pres">
      <dgm:prSet presAssocID="{4B53A482-81D0-438D-9D3A-8ABC6CD55408}" presName="node" presStyleLbl="node1" presStyleIdx="2" presStyleCnt="6">
        <dgm:presLayoutVars>
          <dgm:bulletEnabled val="1"/>
        </dgm:presLayoutVars>
      </dgm:prSet>
      <dgm:spPr/>
      <dgm:t>
        <a:bodyPr/>
        <a:lstStyle/>
        <a:p>
          <a:endParaRPr lang="en-US"/>
        </a:p>
      </dgm:t>
    </dgm:pt>
    <dgm:pt modelId="{BC2116DE-D32D-4657-8F0A-AF9E28ACB6C8}" type="pres">
      <dgm:prSet presAssocID="{3391A717-C655-4581-8B61-7E31C5B57B63}" presName="sibTrans" presStyleCnt="0"/>
      <dgm:spPr/>
    </dgm:pt>
    <dgm:pt modelId="{6AAFEE8A-8AD1-445F-9C68-B84AE03071CA}" type="pres">
      <dgm:prSet presAssocID="{208FB1AD-72FA-44C5-A7C2-5D5E6FDB5532}" presName="node" presStyleLbl="node1" presStyleIdx="3" presStyleCnt="6">
        <dgm:presLayoutVars>
          <dgm:bulletEnabled val="1"/>
        </dgm:presLayoutVars>
      </dgm:prSet>
      <dgm:spPr/>
      <dgm:t>
        <a:bodyPr/>
        <a:lstStyle/>
        <a:p>
          <a:endParaRPr lang="en-US"/>
        </a:p>
      </dgm:t>
    </dgm:pt>
    <dgm:pt modelId="{F0D1D311-A287-4C63-A81D-8B9ECE694225}" type="pres">
      <dgm:prSet presAssocID="{BC3D1604-A8E0-49D0-9282-68A1261B32DA}" presName="sibTrans" presStyleCnt="0"/>
      <dgm:spPr/>
    </dgm:pt>
    <dgm:pt modelId="{6823E6B6-73BE-4777-89F9-AF6E587DA939}" type="pres">
      <dgm:prSet presAssocID="{0A8C22F1-612E-4328-B59A-57C5C46CA4D2}" presName="node" presStyleLbl="node1" presStyleIdx="4" presStyleCnt="6">
        <dgm:presLayoutVars>
          <dgm:bulletEnabled val="1"/>
        </dgm:presLayoutVars>
      </dgm:prSet>
      <dgm:spPr/>
      <dgm:t>
        <a:bodyPr/>
        <a:lstStyle/>
        <a:p>
          <a:endParaRPr lang="en-US"/>
        </a:p>
      </dgm:t>
    </dgm:pt>
    <dgm:pt modelId="{1F9F6C31-BC0C-4E72-8C95-F8D39FC15621}" type="pres">
      <dgm:prSet presAssocID="{95E7A5F5-517B-49E3-80A2-036DA31CDC1F}" presName="sibTrans" presStyleCnt="0"/>
      <dgm:spPr/>
    </dgm:pt>
    <dgm:pt modelId="{48DDA940-1214-40E6-BB04-2996CD20C634}" type="pres">
      <dgm:prSet presAssocID="{15899E5D-6D6E-4E4C-9A2D-BE9F1B0AC0C1}" presName="node" presStyleLbl="node1" presStyleIdx="5" presStyleCnt="6">
        <dgm:presLayoutVars>
          <dgm:bulletEnabled val="1"/>
        </dgm:presLayoutVars>
      </dgm:prSet>
      <dgm:spPr/>
      <dgm:t>
        <a:bodyPr/>
        <a:lstStyle/>
        <a:p>
          <a:endParaRPr lang="en-US"/>
        </a:p>
      </dgm:t>
    </dgm:pt>
  </dgm:ptLst>
  <dgm:cxnLst>
    <dgm:cxn modelId="{20007F51-B460-41BA-B8CB-400EF8DA0CAD}" srcId="{C79FB4A9-D936-4DBE-8013-773EDD3E387A}" destId="{4B53A482-81D0-438D-9D3A-8ABC6CD55408}" srcOrd="2" destOrd="0" parTransId="{C0AB2EFA-C070-4501-926E-26AC22F4CDFD}" sibTransId="{3391A717-C655-4581-8B61-7E31C5B57B63}"/>
    <dgm:cxn modelId="{B98F907D-4D47-4A85-B508-7FB5368F4AA1}" type="presOf" srcId="{15899E5D-6D6E-4E4C-9A2D-BE9F1B0AC0C1}" destId="{48DDA940-1214-40E6-BB04-2996CD20C634}" srcOrd="0" destOrd="0" presId="urn:microsoft.com/office/officeart/2005/8/layout/default"/>
    <dgm:cxn modelId="{B3AF5302-5B20-41D1-A07B-952AD8E0506F}" type="presOf" srcId="{0A8C22F1-612E-4328-B59A-57C5C46CA4D2}" destId="{6823E6B6-73BE-4777-89F9-AF6E587DA939}" srcOrd="0" destOrd="0" presId="urn:microsoft.com/office/officeart/2005/8/layout/default"/>
    <dgm:cxn modelId="{917F04F2-E9C2-41D9-9B9B-217614D80101}" type="presOf" srcId="{4B53A482-81D0-438D-9D3A-8ABC6CD55408}" destId="{0529BDF4-F6E4-48FE-B4C0-445640F95CD9}" srcOrd="0" destOrd="0" presId="urn:microsoft.com/office/officeart/2005/8/layout/default"/>
    <dgm:cxn modelId="{BB138F2B-E665-4A75-928E-A7BC6320D67A}" srcId="{C79FB4A9-D936-4DBE-8013-773EDD3E387A}" destId="{0A8C22F1-612E-4328-B59A-57C5C46CA4D2}" srcOrd="4" destOrd="0" parTransId="{9EA3627B-D94B-4B5C-8336-C9A45A074C69}" sibTransId="{95E7A5F5-517B-49E3-80A2-036DA31CDC1F}"/>
    <dgm:cxn modelId="{EEA18D3B-52B7-478A-90D7-BC1C8665D683}" srcId="{C79FB4A9-D936-4DBE-8013-773EDD3E387A}" destId="{208FB1AD-72FA-44C5-A7C2-5D5E6FDB5532}" srcOrd="3" destOrd="0" parTransId="{3F7EA2AE-9481-40CC-B0C3-0AB9725DA6C3}" sibTransId="{BC3D1604-A8E0-49D0-9282-68A1261B32DA}"/>
    <dgm:cxn modelId="{DE5CF49B-865E-474D-A8DD-C9BA6022F853}" type="presOf" srcId="{C79FB4A9-D936-4DBE-8013-773EDD3E387A}" destId="{04BC0CB8-CB5E-4025-AFA9-E76EAAE808F5}" srcOrd="0" destOrd="0" presId="urn:microsoft.com/office/officeart/2005/8/layout/default"/>
    <dgm:cxn modelId="{10DBCAC3-B07A-44BE-A95F-4F45D68BA5B5}" type="presOf" srcId="{C529EF56-4791-4CCB-8EDD-22A4F3484790}" destId="{26E0ACC7-2CAE-438D-A37B-7458EEF818BB}" srcOrd="0" destOrd="0" presId="urn:microsoft.com/office/officeart/2005/8/layout/default"/>
    <dgm:cxn modelId="{A91AA30D-4260-447C-B2E1-65BB85F1AB9A}" srcId="{C79FB4A9-D936-4DBE-8013-773EDD3E387A}" destId="{2675AA26-FED3-4CB4-8301-F4D166D89482}" srcOrd="1" destOrd="0" parTransId="{742AB6C8-900B-4CF6-B00D-52A66673531D}" sibTransId="{21DD0E8D-2B82-409E-800D-4C6EFA808439}"/>
    <dgm:cxn modelId="{F1A42833-6CAC-48E6-A2B8-11D434F9BB8A}" type="presOf" srcId="{2675AA26-FED3-4CB4-8301-F4D166D89482}" destId="{C200E4BE-2E54-47F1-A6D9-6A90A876D3B9}" srcOrd="0" destOrd="0" presId="urn:microsoft.com/office/officeart/2005/8/layout/default"/>
    <dgm:cxn modelId="{625EEFE8-5CDB-49F9-9CE9-D0A9A299FD47}" type="presOf" srcId="{208FB1AD-72FA-44C5-A7C2-5D5E6FDB5532}" destId="{6AAFEE8A-8AD1-445F-9C68-B84AE03071CA}" srcOrd="0" destOrd="0" presId="urn:microsoft.com/office/officeart/2005/8/layout/default"/>
    <dgm:cxn modelId="{C60F7851-CA17-446F-9350-BD2D0A4392C0}" srcId="{C79FB4A9-D936-4DBE-8013-773EDD3E387A}" destId="{15899E5D-6D6E-4E4C-9A2D-BE9F1B0AC0C1}" srcOrd="5" destOrd="0" parTransId="{2F99082C-5064-4152-8B43-AAAD57B42583}" sibTransId="{0D2EB3FD-3D60-4A0A-969B-3C8FE08FA322}"/>
    <dgm:cxn modelId="{1C730BD3-A872-446E-AA51-7A9287B0A447}" srcId="{C79FB4A9-D936-4DBE-8013-773EDD3E387A}" destId="{C529EF56-4791-4CCB-8EDD-22A4F3484790}" srcOrd="0" destOrd="0" parTransId="{413A4708-D649-4E02-A0EF-9BE64A81D206}" sibTransId="{76546069-F34E-4A0C-8288-A5F29DCCFB2E}"/>
    <dgm:cxn modelId="{8ABCEC5F-6027-4C2D-8D56-21981FB25002}" type="presParOf" srcId="{04BC0CB8-CB5E-4025-AFA9-E76EAAE808F5}" destId="{26E0ACC7-2CAE-438D-A37B-7458EEF818BB}" srcOrd="0" destOrd="0" presId="urn:microsoft.com/office/officeart/2005/8/layout/default"/>
    <dgm:cxn modelId="{8A7FD309-B91E-489E-B64F-B72D07D10D84}" type="presParOf" srcId="{04BC0CB8-CB5E-4025-AFA9-E76EAAE808F5}" destId="{C32C6ACB-9F13-464C-A430-635F4D18D44D}" srcOrd="1" destOrd="0" presId="urn:microsoft.com/office/officeart/2005/8/layout/default"/>
    <dgm:cxn modelId="{4E20B242-E643-41D1-9882-D565ACB95E2A}" type="presParOf" srcId="{04BC0CB8-CB5E-4025-AFA9-E76EAAE808F5}" destId="{C200E4BE-2E54-47F1-A6D9-6A90A876D3B9}" srcOrd="2" destOrd="0" presId="urn:microsoft.com/office/officeart/2005/8/layout/default"/>
    <dgm:cxn modelId="{F2112663-0A61-4A6D-A7D8-2725B61B5C4F}" type="presParOf" srcId="{04BC0CB8-CB5E-4025-AFA9-E76EAAE808F5}" destId="{B07D1CDF-C24B-48CD-87F0-E05DCCB36CAE}" srcOrd="3" destOrd="0" presId="urn:microsoft.com/office/officeart/2005/8/layout/default"/>
    <dgm:cxn modelId="{607693A1-1CB0-4141-B51D-0B2091A569E2}" type="presParOf" srcId="{04BC0CB8-CB5E-4025-AFA9-E76EAAE808F5}" destId="{0529BDF4-F6E4-48FE-B4C0-445640F95CD9}" srcOrd="4" destOrd="0" presId="urn:microsoft.com/office/officeart/2005/8/layout/default"/>
    <dgm:cxn modelId="{905C1FDE-2306-4F7C-981F-EF48257EB101}" type="presParOf" srcId="{04BC0CB8-CB5E-4025-AFA9-E76EAAE808F5}" destId="{BC2116DE-D32D-4657-8F0A-AF9E28ACB6C8}" srcOrd="5" destOrd="0" presId="urn:microsoft.com/office/officeart/2005/8/layout/default"/>
    <dgm:cxn modelId="{864F2EDF-248F-415A-A8FD-4D4F3C246570}" type="presParOf" srcId="{04BC0CB8-CB5E-4025-AFA9-E76EAAE808F5}" destId="{6AAFEE8A-8AD1-445F-9C68-B84AE03071CA}" srcOrd="6" destOrd="0" presId="urn:microsoft.com/office/officeart/2005/8/layout/default"/>
    <dgm:cxn modelId="{5F6DFD20-B32A-4B54-9A80-B38E3AC8F71F}" type="presParOf" srcId="{04BC0CB8-CB5E-4025-AFA9-E76EAAE808F5}" destId="{F0D1D311-A287-4C63-A81D-8B9ECE694225}" srcOrd="7" destOrd="0" presId="urn:microsoft.com/office/officeart/2005/8/layout/default"/>
    <dgm:cxn modelId="{B6484266-670B-4C13-B283-073D42607662}" type="presParOf" srcId="{04BC0CB8-CB5E-4025-AFA9-E76EAAE808F5}" destId="{6823E6B6-73BE-4777-89F9-AF6E587DA939}" srcOrd="8" destOrd="0" presId="urn:microsoft.com/office/officeart/2005/8/layout/default"/>
    <dgm:cxn modelId="{969D4B2B-0C2D-4470-8F2A-8F69164EE95F}" type="presParOf" srcId="{04BC0CB8-CB5E-4025-AFA9-E76EAAE808F5}" destId="{1F9F6C31-BC0C-4E72-8C95-F8D39FC15621}" srcOrd="9" destOrd="0" presId="urn:microsoft.com/office/officeart/2005/8/layout/default"/>
    <dgm:cxn modelId="{41206AB4-4F07-47EB-82FC-6F13AFCCACD4}" type="presParOf" srcId="{04BC0CB8-CB5E-4025-AFA9-E76EAAE808F5}" destId="{48DDA940-1214-40E6-BB04-2996CD20C634}"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209CEED4-BD42-431C-B03A-8B33948F539D}"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4322967F-5BAF-42EA-9EF2-31029370F0F7}">
      <dgm:prSet custT="1"/>
      <dgm:spPr/>
      <dgm:t>
        <a:bodyPr/>
        <a:lstStyle/>
        <a:p>
          <a:pPr rtl="0"/>
          <a:r>
            <a:rPr lang="en-US" sz="2400" dirty="0"/>
            <a:t>Staff and physician education: policy and procedures</a:t>
          </a:r>
        </a:p>
      </dgm:t>
    </dgm:pt>
    <dgm:pt modelId="{D5F64CD4-8D86-4B8C-A0BB-D5DE34B2CF5A}" type="parTrans" cxnId="{B33782B6-6EFC-49D9-8011-D85AB95A61A7}">
      <dgm:prSet/>
      <dgm:spPr/>
      <dgm:t>
        <a:bodyPr/>
        <a:lstStyle/>
        <a:p>
          <a:endParaRPr lang="en-US" sz="2400"/>
        </a:p>
      </dgm:t>
    </dgm:pt>
    <dgm:pt modelId="{BC167CB5-B683-466F-A155-2FCDE16B4C22}" type="sibTrans" cxnId="{B33782B6-6EFC-49D9-8011-D85AB95A61A7}">
      <dgm:prSet/>
      <dgm:spPr/>
      <dgm:t>
        <a:bodyPr/>
        <a:lstStyle/>
        <a:p>
          <a:endParaRPr lang="en-US" sz="2400"/>
        </a:p>
      </dgm:t>
    </dgm:pt>
    <dgm:pt modelId="{F74FEE6C-D8DD-4B8D-B181-5891EA4B6F94}">
      <dgm:prSet custT="1"/>
      <dgm:spPr/>
      <dgm:t>
        <a:bodyPr/>
        <a:lstStyle/>
        <a:p>
          <a:pPr rtl="0"/>
          <a:r>
            <a:rPr lang="en-US" sz="2400" dirty="0"/>
            <a:t>Compliance: policy and procedures</a:t>
          </a:r>
        </a:p>
      </dgm:t>
    </dgm:pt>
    <dgm:pt modelId="{D759C232-FEC0-40F9-8E17-E33D3BAF4DDC}" type="parTrans" cxnId="{EA774FC5-D61B-43D5-BCBF-D7DC3E52206E}">
      <dgm:prSet/>
      <dgm:spPr/>
      <dgm:t>
        <a:bodyPr/>
        <a:lstStyle/>
        <a:p>
          <a:endParaRPr lang="en-US" sz="2400"/>
        </a:p>
      </dgm:t>
    </dgm:pt>
    <dgm:pt modelId="{622BBB7F-F2BB-432D-BEEF-6AE8DC05A07D}" type="sibTrans" cxnId="{EA774FC5-D61B-43D5-BCBF-D7DC3E52206E}">
      <dgm:prSet/>
      <dgm:spPr/>
      <dgm:t>
        <a:bodyPr/>
        <a:lstStyle/>
        <a:p>
          <a:endParaRPr lang="en-US" sz="2400"/>
        </a:p>
      </dgm:t>
    </dgm:pt>
    <dgm:pt modelId="{F56DDD52-4496-47C9-B893-3DCCB474EE53}">
      <dgm:prSet custT="1"/>
      <dgm:spPr/>
      <dgm:t>
        <a:bodyPr/>
        <a:lstStyle/>
        <a:p>
          <a:pPr rtl="0"/>
          <a:r>
            <a:rPr lang="en-US" sz="2400" dirty="0"/>
            <a:t>Compliance: partnership agreement (financial incentives)</a:t>
          </a:r>
        </a:p>
      </dgm:t>
    </dgm:pt>
    <dgm:pt modelId="{537C9F09-6031-4515-B1BB-530BA0A26C11}" type="parTrans" cxnId="{96C6F48C-2CF2-483D-B8B0-F74FA7D449C7}">
      <dgm:prSet/>
      <dgm:spPr/>
      <dgm:t>
        <a:bodyPr/>
        <a:lstStyle/>
        <a:p>
          <a:endParaRPr lang="en-US" sz="2400"/>
        </a:p>
      </dgm:t>
    </dgm:pt>
    <dgm:pt modelId="{442F7F2D-DD0D-40B6-BD06-B17306472CF4}" type="sibTrans" cxnId="{96C6F48C-2CF2-483D-B8B0-F74FA7D449C7}">
      <dgm:prSet/>
      <dgm:spPr/>
      <dgm:t>
        <a:bodyPr/>
        <a:lstStyle/>
        <a:p>
          <a:endParaRPr lang="en-US" sz="2400"/>
        </a:p>
      </dgm:t>
    </dgm:pt>
    <dgm:pt modelId="{7FBC4F76-8927-42E9-A172-DD09F1F5140C}">
      <dgm:prSet custT="1"/>
      <dgm:spPr/>
      <dgm:t>
        <a:bodyPr/>
        <a:lstStyle/>
        <a:p>
          <a:pPr rtl="0"/>
          <a:r>
            <a:rPr lang="en-US" sz="2400" dirty="0"/>
            <a:t>Physician performance: monthly review meetings</a:t>
          </a:r>
        </a:p>
      </dgm:t>
    </dgm:pt>
    <dgm:pt modelId="{4B715349-B75E-4AC9-8749-356837299A97}" type="parTrans" cxnId="{CE6DC3E5-0790-46BB-A6E3-83E64579DA6A}">
      <dgm:prSet/>
      <dgm:spPr/>
      <dgm:t>
        <a:bodyPr/>
        <a:lstStyle/>
        <a:p>
          <a:endParaRPr lang="en-US" sz="2400"/>
        </a:p>
      </dgm:t>
    </dgm:pt>
    <dgm:pt modelId="{B8B4DE02-2E86-40BE-91E4-DBF70479C4DB}" type="sibTrans" cxnId="{CE6DC3E5-0790-46BB-A6E3-83E64579DA6A}">
      <dgm:prSet/>
      <dgm:spPr/>
      <dgm:t>
        <a:bodyPr/>
        <a:lstStyle/>
        <a:p>
          <a:endParaRPr lang="en-US" sz="2400"/>
        </a:p>
      </dgm:t>
    </dgm:pt>
    <dgm:pt modelId="{913C91EE-CCDF-429E-AF1D-A174786B7A87}">
      <dgm:prSet custT="1"/>
      <dgm:spPr/>
      <dgm:t>
        <a:bodyPr/>
        <a:lstStyle/>
        <a:p>
          <a:pPr rtl="0"/>
          <a:r>
            <a:rPr lang="en-US" sz="2400" dirty="0"/>
            <a:t>Physician: cancel appointments until charts complete</a:t>
          </a:r>
        </a:p>
      </dgm:t>
    </dgm:pt>
    <dgm:pt modelId="{390640D5-AE19-494D-B193-1F3140EE7085}" type="parTrans" cxnId="{B86A6678-DA83-45F5-96DF-70FAC834D38A}">
      <dgm:prSet/>
      <dgm:spPr/>
      <dgm:t>
        <a:bodyPr/>
        <a:lstStyle/>
        <a:p>
          <a:endParaRPr lang="en-US" sz="2400"/>
        </a:p>
      </dgm:t>
    </dgm:pt>
    <dgm:pt modelId="{724C6D13-329D-4CDE-847D-BB5AFCF8F89F}" type="sibTrans" cxnId="{B86A6678-DA83-45F5-96DF-70FAC834D38A}">
      <dgm:prSet/>
      <dgm:spPr/>
      <dgm:t>
        <a:bodyPr/>
        <a:lstStyle/>
        <a:p>
          <a:endParaRPr lang="en-US" sz="2400"/>
        </a:p>
      </dgm:t>
    </dgm:pt>
    <dgm:pt modelId="{43B2F05F-D99F-4801-BC04-DB98D59A11C3}">
      <dgm:prSet custT="1"/>
      <dgm:spPr/>
      <dgm:t>
        <a:bodyPr/>
        <a:lstStyle/>
        <a:p>
          <a:pPr rtl="0"/>
          <a:r>
            <a:rPr lang="en-US" sz="2400" dirty="0"/>
            <a:t>Chain of command/referral</a:t>
          </a:r>
        </a:p>
      </dgm:t>
    </dgm:pt>
    <dgm:pt modelId="{1C1E32E6-1854-430E-A248-C74ABAF972B1}" type="parTrans" cxnId="{B165DE49-B36C-4908-93C8-D80737775AAA}">
      <dgm:prSet/>
      <dgm:spPr/>
      <dgm:t>
        <a:bodyPr/>
        <a:lstStyle/>
        <a:p>
          <a:endParaRPr lang="en-US" sz="2400"/>
        </a:p>
      </dgm:t>
    </dgm:pt>
    <dgm:pt modelId="{4B480DA4-E3FE-4D42-9083-3504AAAA887F}" type="sibTrans" cxnId="{B165DE49-B36C-4908-93C8-D80737775AAA}">
      <dgm:prSet/>
      <dgm:spPr/>
      <dgm:t>
        <a:bodyPr/>
        <a:lstStyle/>
        <a:p>
          <a:endParaRPr lang="en-US" sz="2400"/>
        </a:p>
      </dgm:t>
    </dgm:pt>
    <dgm:pt modelId="{83EE4602-B347-40F6-A6C3-1E339E8789E3}" type="pres">
      <dgm:prSet presAssocID="{209CEED4-BD42-431C-B03A-8B33948F539D}" presName="Name0" presStyleCnt="0">
        <dgm:presLayoutVars>
          <dgm:chMax val="7"/>
          <dgm:chPref val="7"/>
          <dgm:dir/>
        </dgm:presLayoutVars>
      </dgm:prSet>
      <dgm:spPr/>
      <dgm:t>
        <a:bodyPr/>
        <a:lstStyle/>
        <a:p>
          <a:endParaRPr lang="en-US"/>
        </a:p>
      </dgm:t>
    </dgm:pt>
    <dgm:pt modelId="{CD1DA9DF-4149-4A49-B2FA-C5E69964C965}" type="pres">
      <dgm:prSet presAssocID="{209CEED4-BD42-431C-B03A-8B33948F539D}" presName="Name1" presStyleCnt="0"/>
      <dgm:spPr/>
    </dgm:pt>
    <dgm:pt modelId="{3A164158-E763-4DFA-B33D-AB6015B4262E}" type="pres">
      <dgm:prSet presAssocID="{209CEED4-BD42-431C-B03A-8B33948F539D}" presName="cycle" presStyleCnt="0"/>
      <dgm:spPr/>
    </dgm:pt>
    <dgm:pt modelId="{C137871E-55A4-43DF-A525-86CD47BB18C5}" type="pres">
      <dgm:prSet presAssocID="{209CEED4-BD42-431C-B03A-8B33948F539D}" presName="srcNode" presStyleLbl="node1" presStyleIdx="0" presStyleCnt="6"/>
      <dgm:spPr/>
    </dgm:pt>
    <dgm:pt modelId="{192BA582-E489-448D-A740-4D65239FC528}" type="pres">
      <dgm:prSet presAssocID="{209CEED4-BD42-431C-B03A-8B33948F539D}" presName="conn" presStyleLbl="parChTrans1D2" presStyleIdx="0" presStyleCnt="1"/>
      <dgm:spPr/>
      <dgm:t>
        <a:bodyPr/>
        <a:lstStyle/>
        <a:p>
          <a:endParaRPr lang="en-US"/>
        </a:p>
      </dgm:t>
    </dgm:pt>
    <dgm:pt modelId="{E53065EC-378B-494B-869D-B6872C155CB8}" type="pres">
      <dgm:prSet presAssocID="{209CEED4-BD42-431C-B03A-8B33948F539D}" presName="extraNode" presStyleLbl="node1" presStyleIdx="0" presStyleCnt="6"/>
      <dgm:spPr/>
    </dgm:pt>
    <dgm:pt modelId="{E08B429E-E2CC-41F2-BE19-3EB19287489B}" type="pres">
      <dgm:prSet presAssocID="{209CEED4-BD42-431C-B03A-8B33948F539D}" presName="dstNode" presStyleLbl="node1" presStyleIdx="0" presStyleCnt="6"/>
      <dgm:spPr/>
    </dgm:pt>
    <dgm:pt modelId="{AFC5CBF8-FEC5-4416-B514-F94638ACA3A3}" type="pres">
      <dgm:prSet presAssocID="{4322967F-5BAF-42EA-9EF2-31029370F0F7}" presName="text_1" presStyleLbl="node1" presStyleIdx="0" presStyleCnt="6">
        <dgm:presLayoutVars>
          <dgm:bulletEnabled val="1"/>
        </dgm:presLayoutVars>
      </dgm:prSet>
      <dgm:spPr/>
      <dgm:t>
        <a:bodyPr/>
        <a:lstStyle/>
        <a:p>
          <a:endParaRPr lang="en-US"/>
        </a:p>
      </dgm:t>
    </dgm:pt>
    <dgm:pt modelId="{0CBF3BD7-77CE-418C-BBEF-AC5EC80E8CC7}" type="pres">
      <dgm:prSet presAssocID="{4322967F-5BAF-42EA-9EF2-31029370F0F7}" presName="accent_1" presStyleCnt="0"/>
      <dgm:spPr/>
    </dgm:pt>
    <dgm:pt modelId="{7607129B-1030-43B3-AB07-ABFC03745A0C}" type="pres">
      <dgm:prSet presAssocID="{4322967F-5BAF-42EA-9EF2-31029370F0F7}" presName="accentRepeatNode" presStyleLbl="solidFgAcc1" presStyleIdx="0" presStyleCnt="6"/>
      <dgm:spPr/>
    </dgm:pt>
    <dgm:pt modelId="{15532506-B045-4231-97C7-9DF5859C3AC4}" type="pres">
      <dgm:prSet presAssocID="{F74FEE6C-D8DD-4B8D-B181-5891EA4B6F94}" presName="text_2" presStyleLbl="node1" presStyleIdx="1" presStyleCnt="6">
        <dgm:presLayoutVars>
          <dgm:bulletEnabled val="1"/>
        </dgm:presLayoutVars>
      </dgm:prSet>
      <dgm:spPr/>
      <dgm:t>
        <a:bodyPr/>
        <a:lstStyle/>
        <a:p>
          <a:endParaRPr lang="en-US"/>
        </a:p>
      </dgm:t>
    </dgm:pt>
    <dgm:pt modelId="{B9F9277A-975A-4D79-8391-33582A9BEA28}" type="pres">
      <dgm:prSet presAssocID="{F74FEE6C-D8DD-4B8D-B181-5891EA4B6F94}" presName="accent_2" presStyleCnt="0"/>
      <dgm:spPr/>
    </dgm:pt>
    <dgm:pt modelId="{54E43296-76AE-414A-ADA5-F69DD8AD0516}" type="pres">
      <dgm:prSet presAssocID="{F74FEE6C-D8DD-4B8D-B181-5891EA4B6F94}" presName="accentRepeatNode" presStyleLbl="solidFgAcc1" presStyleIdx="1" presStyleCnt="6"/>
      <dgm:spPr/>
    </dgm:pt>
    <dgm:pt modelId="{8DB2761C-38FD-421C-8713-7B2FFC98B2AD}" type="pres">
      <dgm:prSet presAssocID="{F56DDD52-4496-47C9-B893-3DCCB474EE53}" presName="text_3" presStyleLbl="node1" presStyleIdx="2" presStyleCnt="6">
        <dgm:presLayoutVars>
          <dgm:bulletEnabled val="1"/>
        </dgm:presLayoutVars>
      </dgm:prSet>
      <dgm:spPr/>
      <dgm:t>
        <a:bodyPr/>
        <a:lstStyle/>
        <a:p>
          <a:endParaRPr lang="en-US"/>
        </a:p>
      </dgm:t>
    </dgm:pt>
    <dgm:pt modelId="{2810C03B-2587-4EAE-B9C9-9B328D703FF2}" type="pres">
      <dgm:prSet presAssocID="{F56DDD52-4496-47C9-B893-3DCCB474EE53}" presName="accent_3" presStyleCnt="0"/>
      <dgm:spPr/>
    </dgm:pt>
    <dgm:pt modelId="{4F3841E6-3D58-4435-AB24-1268A90DC8C0}" type="pres">
      <dgm:prSet presAssocID="{F56DDD52-4496-47C9-B893-3DCCB474EE53}" presName="accentRepeatNode" presStyleLbl="solidFgAcc1" presStyleIdx="2" presStyleCnt="6"/>
      <dgm:spPr/>
    </dgm:pt>
    <dgm:pt modelId="{7994D257-02E1-4BDA-8D67-A90EC3F9162B}" type="pres">
      <dgm:prSet presAssocID="{7FBC4F76-8927-42E9-A172-DD09F1F5140C}" presName="text_4" presStyleLbl="node1" presStyleIdx="3" presStyleCnt="6">
        <dgm:presLayoutVars>
          <dgm:bulletEnabled val="1"/>
        </dgm:presLayoutVars>
      </dgm:prSet>
      <dgm:spPr/>
      <dgm:t>
        <a:bodyPr/>
        <a:lstStyle/>
        <a:p>
          <a:endParaRPr lang="en-US"/>
        </a:p>
      </dgm:t>
    </dgm:pt>
    <dgm:pt modelId="{B4A59C39-D1E6-453F-9805-64175AA56D0E}" type="pres">
      <dgm:prSet presAssocID="{7FBC4F76-8927-42E9-A172-DD09F1F5140C}" presName="accent_4" presStyleCnt="0"/>
      <dgm:spPr/>
    </dgm:pt>
    <dgm:pt modelId="{7AE298F1-4712-4A2B-ABC1-A4E769DCF3E3}" type="pres">
      <dgm:prSet presAssocID="{7FBC4F76-8927-42E9-A172-DD09F1F5140C}" presName="accentRepeatNode" presStyleLbl="solidFgAcc1" presStyleIdx="3" presStyleCnt="6"/>
      <dgm:spPr/>
    </dgm:pt>
    <dgm:pt modelId="{27BF10FE-D3EE-4961-A138-BD50B57D93BB}" type="pres">
      <dgm:prSet presAssocID="{913C91EE-CCDF-429E-AF1D-A174786B7A87}" presName="text_5" presStyleLbl="node1" presStyleIdx="4" presStyleCnt="6">
        <dgm:presLayoutVars>
          <dgm:bulletEnabled val="1"/>
        </dgm:presLayoutVars>
      </dgm:prSet>
      <dgm:spPr/>
      <dgm:t>
        <a:bodyPr/>
        <a:lstStyle/>
        <a:p>
          <a:endParaRPr lang="en-US"/>
        </a:p>
      </dgm:t>
    </dgm:pt>
    <dgm:pt modelId="{99C2F869-4D73-4237-AFEE-DA6657116CDF}" type="pres">
      <dgm:prSet presAssocID="{913C91EE-CCDF-429E-AF1D-A174786B7A87}" presName="accent_5" presStyleCnt="0"/>
      <dgm:spPr/>
    </dgm:pt>
    <dgm:pt modelId="{F845B0A6-D479-4276-B602-2B4643E2C4B3}" type="pres">
      <dgm:prSet presAssocID="{913C91EE-CCDF-429E-AF1D-A174786B7A87}" presName="accentRepeatNode" presStyleLbl="solidFgAcc1" presStyleIdx="4" presStyleCnt="6"/>
      <dgm:spPr/>
    </dgm:pt>
    <dgm:pt modelId="{5C121E8F-A899-4B32-88F4-8BC23E181EB5}" type="pres">
      <dgm:prSet presAssocID="{43B2F05F-D99F-4801-BC04-DB98D59A11C3}" presName="text_6" presStyleLbl="node1" presStyleIdx="5" presStyleCnt="6">
        <dgm:presLayoutVars>
          <dgm:bulletEnabled val="1"/>
        </dgm:presLayoutVars>
      </dgm:prSet>
      <dgm:spPr/>
      <dgm:t>
        <a:bodyPr/>
        <a:lstStyle/>
        <a:p>
          <a:endParaRPr lang="en-US"/>
        </a:p>
      </dgm:t>
    </dgm:pt>
    <dgm:pt modelId="{BBEAC65A-B425-4417-887D-86B5B4FCF2FD}" type="pres">
      <dgm:prSet presAssocID="{43B2F05F-D99F-4801-BC04-DB98D59A11C3}" presName="accent_6" presStyleCnt="0"/>
      <dgm:spPr/>
    </dgm:pt>
    <dgm:pt modelId="{42C54A75-CDCD-4AC7-BBE6-D052BF8CB5A6}" type="pres">
      <dgm:prSet presAssocID="{43B2F05F-D99F-4801-BC04-DB98D59A11C3}" presName="accentRepeatNode" presStyleLbl="solidFgAcc1" presStyleIdx="5" presStyleCnt="6"/>
      <dgm:spPr/>
    </dgm:pt>
  </dgm:ptLst>
  <dgm:cxnLst>
    <dgm:cxn modelId="{B33782B6-6EFC-49D9-8011-D85AB95A61A7}" srcId="{209CEED4-BD42-431C-B03A-8B33948F539D}" destId="{4322967F-5BAF-42EA-9EF2-31029370F0F7}" srcOrd="0" destOrd="0" parTransId="{D5F64CD4-8D86-4B8C-A0BB-D5DE34B2CF5A}" sibTransId="{BC167CB5-B683-466F-A155-2FCDE16B4C22}"/>
    <dgm:cxn modelId="{1A04EE6E-9B0E-429A-9296-5067B7BEE287}" type="presOf" srcId="{209CEED4-BD42-431C-B03A-8B33948F539D}" destId="{83EE4602-B347-40F6-A6C3-1E339E8789E3}" srcOrd="0" destOrd="0" presId="urn:microsoft.com/office/officeart/2008/layout/VerticalCurvedList"/>
    <dgm:cxn modelId="{CE6DC3E5-0790-46BB-A6E3-83E64579DA6A}" srcId="{209CEED4-BD42-431C-B03A-8B33948F539D}" destId="{7FBC4F76-8927-42E9-A172-DD09F1F5140C}" srcOrd="3" destOrd="0" parTransId="{4B715349-B75E-4AC9-8749-356837299A97}" sibTransId="{B8B4DE02-2E86-40BE-91E4-DBF70479C4DB}"/>
    <dgm:cxn modelId="{2A61328B-EA4E-4906-9E2F-C7271A2A6713}" type="presOf" srcId="{BC167CB5-B683-466F-A155-2FCDE16B4C22}" destId="{192BA582-E489-448D-A740-4D65239FC528}" srcOrd="0" destOrd="0" presId="urn:microsoft.com/office/officeart/2008/layout/VerticalCurvedList"/>
    <dgm:cxn modelId="{64F71097-2598-477B-BC47-C08107533820}" type="presOf" srcId="{7FBC4F76-8927-42E9-A172-DD09F1F5140C}" destId="{7994D257-02E1-4BDA-8D67-A90EC3F9162B}" srcOrd="0" destOrd="0" presId="urn:microsoft.com/office/officeart/2008/layout/VerticalCurvedList"/>
    <dgm:cxn modelId="{55517C5F-F339-476C-9A9A-B6FB59B5F680}" type="presOf" srcId="{F56DDD52-4496-47C9-B893-3DCCB474EE53}" destId="{8DB2761C-38FD-421C-8713-7B2FFC98B2AD}" srcOrd="0" destOrd="0" presId="urn:microsoft.com/office/officeart/2008/layout/VerticalCurvedList"/>
    <dgm:cxn modelId="{96C6F48C-2CF2-483D-B8B0-F74FA7D449C7}" srcId="{209CEED4-BD42-431C-B03A-8B33948F539D}" destId="{F56DDD52-4496-47C9-B893-3DCCB474EE53}" srcOrd="2" destOrd="0" parTransId="{537C9F09-6031-4515-B1BB-530BA0A26C11}" sibTransId="{442F7F2D-DD0D-40B6-BD06-B17306472CF4}"/>
    <dgm:cxn modelId="{EA774FC5-D61B-43D5-BCBF-D7DC3E52206E}" srcId="{209CEED4-BD42-431C-B03A-8B33948F539D}" destId="{F74FEE6C-D8DD-4B8D-B181-5891EA4B6F94}" srcOrd="1" destOrd="0" parTransId="{D759C232-FEC0-40F9-8E17-E33D3BAF4DDC}" sibTransId="{622BBB7F-F2BB-432D-BEEF-6AE8DC05A07D}"/>
    <dgm:cxn modelId="{C8C65A6D-5CC2-4427-95E4-B8E1BE887976}" type="presOf" srcId="{F74FEE6C-D8DD-4B8D-B181-5891EA4B6F94}" destId="{15532506-B045-4231-97C7-9DF5859C3AC4}" srcOrd="0" destOrd="0" presId="urn:microsoft.com/office/officeart/2008/layout/VerticalCurvedList"/>
    <dgm:cxn modelId="{C36FDFFE-DEEE-40AB-99E2-809E30201544}" type="presOf" srcId="{4322967F-5BAF-42EA-9EF2-31029370F0F7}" destId="{AFC5CBF8-FEC5-4416-B514-F94638ACA3A3}" srcOrd="0" destOrd="0" presId="urn:microsoft.com/office/officeart/2008/layout/VerticalCurvedList"/>
    <dgm:cxn modelId="{B86A6678-DA83-45F5-96DF-70FAC834D38A}" srcId="{209CEED4-BD42-431C-B03A-8B33948F539D}" destId="{913C91EE-CCDF-429E-AF1D-A174786B7A87}" srcOrd="4" destOrd="0" parTransId="{390640D5-AE19-494D-B193-1F3140EE7085}" sibTransId="{724C6D13-329D-4CDE-847D-BB5AFCF8F89F}"/>
    <dgm:cxn modelId="{B165DE49-B36C-4908-93C8-D80737775AAA}" srcId="{209CEED4-BD42-431C-B03A-8B33948F539D}" destId="{43B2F05F-D99F-4801-BC04-DB98D59A11C3}" srcOrd="5" destOrd="0" parTransId="{1C1E32E6-1854-430E-A248-C74ABAF972B1}" sibTransId="{4B480DA4-E3FE-4D42-9083-3504AAAA887F}"/>
    <dgm:cxn modelId="{092C8BD3-375E-4356-B9E7-5824012FFA61}" type="presOf" srcId="{43B2F05F-D99F-4801-BC04-DB98D59A11C3}" destId="{5C121E8F-A899-4B32-88F4-8BC23E181EB5}" srcOrd="0" destOrd="0" presId="urn:microsoft.com/office/officeart/2008/layout/VerticalCurvedList"/>
    <dgm:cxn modelId="{4957E2D3-729C-401F-A84F-3396B599B26A}" type="presOf" srcId="{913C91EE-CCDF-429E-AF1D-A174786B7A87}" destId="{27BF10FE-D3EE-4961-A138-BD50B57D93BB}" srcOrd="0" destOrd="0" presId="urn:microsoft.com/office/officeart/2008/layout/VerticalCurvedList"/>
    <dgm:cxn modelId="{3272AF10-8275-4099-9213-5D924C758171}" type="presParOf" srcId="{83EE4602-B347-40F6-A6C3-1E339E8789E3}" destId="{CD1DA9DF-4149-4A49-B2FA-C5E69964C965}" srcOrd="0" destOrd="0" presId="urn:microsoft.com/office/officeart/2008/layout/VerticalCurvedList"/>
    <dgm:cxn modelId="{9F83846F-BC75-4430-A7C2-91EFC51DED4E}" type="presParOf" srcId="{CD1DA9DF-4149-4A49-B2FA-C5E69964C965}" destId="{3A164158-E763-4DFA-B33D-AB6015B4262E}" srcOrd="0" destOrd="0" presId="urn:microsoft.com/office/officeart/2008/layout/VerticalCurvedList"/>
    <dgm:cxn modelId="{8C454FC6-9E37-4CE3-ABBF-F35F23ACCC4B}" type="presParOf" srcId="{3A164158-E763-4DFA-B33D-AB6015B4262E}" destId="{C137871E-55A4-43DF-A525-86CD47BB18C5}" srcOrd="0" destOrd="0" presId="urn:microsoft.com/office/officeart/2008/layout/VerticalCurvedList"/>
    <dgm:cxn modelId="{B9324875-A811-43D4-B1AA-8408607FDBB2}" type="presParOf" srcId="{3A164158-E763-4DFA-B33D-AB6015B4262E}" destId="{192BA582-E489-448D-A740-4D65239FC528}" srcOrd="1" destOrd="0" presId="urn:microsoft.com/office/officeart/2008/layout/VerticalCurvedList"/>
    <dgm:cxn modelId="{8D883D09-E046-4A9A-AC69-D699E9C4EABE}" type="presParOf" srcId="{3A164158-E763-4DFA-B33D-AB6015B4262E}" destId="{E53065EC-378B-494B-869D-B6872C155CB8}" srcOrd="2" destOrd="0" presId="urn:microsoft.com/office/officeart/2008/layout/VerticalCurvedList"/>
    <dgm:cxn modelId="{D7D00D8C-71C0-4E1F-9C9B-852970F3744F}" type="presParOf" srcId="{3A164158-E763-4DFA-B33D-AB6015B4262E}" destId="{E08B429E-E2CC-41F2-BE19-3EB19287489B}" srcOrd="3" destOrd="0" presId="urn:microsoft.com/office/officeart/2008/layout/VerticalCurvedList"/>
    <dgm:cxn modelId="{ACE7B2C2-598A-4BAC-8445-5B381D6446D6}" type="presParOf" srcId="{CD1DA9DF-4149-4A49-B2FA-C5E69964C965}" destId="{AFC5CBF8-FEC5-4416-B514-F94638ACA3A3}" srcOrd="1" destOrd="0" presId="urn:microsoft.com/office/officeart/2008/layout/VerticalCurvedList"/>
    <dgm:cxn modelId="{7B12485A-52DA-43D6-8D9B-D1E10604EC53}" type="presParOf" srcId="{CD1DA9DF-4149-4A49-B2FA-C5E69964C965}" destId="{0CBF3BD7-77CE-418C-BBEF-AC5EC80E8CC7}" srcOrd="2" destOrd="0" presId="urn:microsoft.com/office/officeart/2008/layout/VerticalCurvedList"/>
    <dgm:cxn modelId="{E1DEF266-A869-4AF7-BCEC-477478E0EC53}" type="presParOf" srcId="{0CBF3BD7-77CE-418C-BBEF-AC5EC80E8CC7}" destId="{7607129B-1030-43B3-AB07-ABFC03745A0C}" srcOrd="0" destOrd="0" presId="urn:microsoft.com/office/officeart/2008/layout/VerticalCurvedList"/>
    <dgm:cxn modelId="{9543147A-C610-43CB-8C06-6046FD7CB3C7}" type="presParOf" srcId="{CD1DA9DF-4149-4A49-B2FA-C5E69964C965}" destId="{15532506-B045-4231-97C7-9DF5859C3AC4}" srcOrd="3" destOrd="0" presId="urn:microsoft.com/office/officeart/2008/layout/VerticalCurvedList"/>
    <dgm:cxn modelId="{4F72E4C8-54A3-4CB7-A59E-E7EC453DA7FF}" type="presParOf" srcId="{CD1DA9DF-4149-4A49-B2FA-C5E69964C965}" destId="{B9F9277A-975A-4D79-8391-33582A9BEA28}" srcOrd="4" destOrd="0" presId="urn:microsoft.com/office/officeart/2008/layout/VerticalCurvedList"/>
    <dgm:cxn modelId="{8C57D4FE-0435-42B9-9D07-F34CD454B679}" type="presParOf" srcId="{B9F9277A-975A-4D79-8391-33582A9BEA28}" destId="{54E43296-76AE-414A-ADA5-F69DD8AD0516}" srcOrd="0" destOrd="0" presId="urn:microsoft.com/office/officeart/2008/layout/VerticalCurvedList"/>
    <dgm:cxn modelId="{62316D5F-746B-44CE-9EAA-FBBF8035ED78}" type="presParOf" srcId="{CD1DA9DF-4149-4A49-B2FA-C5E69964C965}" destId="{8DB2761C-38FD-421C-8713-7B2FFC98B2AD}" srcOrd="5" destOrd="0" presId="urn:microsoft.com/office/officeart/2008/layout/VerticalCurvedList"/>
    <dgm:cxn modelId="{9B0FA3B3-D44D-4534-835C-D6951B087947}" type="presParOf" srcId="{CD1DA9DF-4149-4A49-B2FA-C5E69964C965}" destId="{2810C03B-2587-4EAE-B9C9-9B328D703FF2}" srcOrd="6" destOrd="0" presId="urn:microsoft.com/office/officeart/2008/layout/VerticalCurvedList"/>
    <dgm:cxn modelId="{F4A1612D-9C54-45E8-9367-051C579DDE48}" type="presParOf" srcId="{2810C03B-2587-4EAE-B9C9-9B328D703FF2}" destId="{4F3841E6-3D58-4435-AB24-1268A90DC8C0}" srcOrd="0" destOrd="0" presId="urn:microsoft.com/office/officeart/2008/layout/VerticalCurvedList"/>
    <dgm:cxn modelId="{A2740074-F04B-47A4-BC8E-7A1DF55DBD3C}" type="presParOf" srcId="{CD1DA9DF-4149-4A49-B2FA-C5E69964C965}" destId="{7994D257-02E1-4BDA-8D67-A90EC3F9162B}" srcOrd="7" destOrd="0" presId="urn:microsoft.com/office/officeart/2008/layout/VerticalCurvedList"/>
    <dgm:cxn modelId="{0DC33888-34FA-468D-96D7-1E6FD5304000}" type="presParOf" srcId="{CD1DA9DF-4149-4A49-B2FA-C5E69964C965}" destId="{B4A59C39-D1E6-453F-9805-64175AA56D0E}" srcOrd="8" destOrd="0" presId="urn:microsoft.com/office/officeart/2008/layout/VerticalCurvedList"/>
    <dgm:cxn modelId="{B359AB12-3994-45CD-8F57-560A992A31B6}" type="presParOf" srcId="{B4A59C39-D1E6-453F-9805-64175AA56D0E}" destId="{7AE298F1-4712-4A2B-ABC1-A4E769DCF3E3}" srcOrd="0" destOrd="0" presId="urn:microsoft.com/office/officeart/2008/layout/VerticalCurvedList"/>
    <dgm:cxn modelId="{630DC80F-8995-49BE-8F10-16074E1DA0C3}" type="presParOf" srcId="{CD1DA9DF-4149-4A49-B2FA-C5E69964C965}" destId="{27BF10FE-D3EE-4961-A138-BD50B57D93BB}" srcOrd="9" destOrd="0" presId="urn:microsoft.com/office/officeart/2008/layout/VerticalCurvedList"/>
    <dgm:cxn modelId="{9287D6B0-F6DC-4B80-96BD-01CFC8AA56B8}" type="presParOf" srcId="{CD1DA9DF-4149-4A49-B2FA-C5E69964C965}" destId="{99C2F869-4D73-4237-AFEE-DA6657116CDF}" srcOrd="10" destOrd="0" presId="urn:microsoft.com/office/officeart/2008/layout/VerticalCurvedList"/>
    <dgm:cxn modelId="{B87E16CC-BD6E-4E1D-BD2A-06DA55BEA0FB}" type="presParOf" srcId="{99C2F869-4D73-4237-AFEE-DA6657116CDF}" destId="{F845B0A6-D479-4276-B602-2B4643E2C4B3}" srcOrd="0" destOrd="0" presId="urn:microsoft.com/office/officeart/2008/layout/VerticalCurvedList"/>
    <dgm:cxn modelId="{551923DA-707B-4756-8E70-0CD29C232FD8}" type="presParOf" srcId="{CD1DA9DF-4149-4A49-B2FA-C5E69964C965}" destId="{5C121E8F-A899-4B32-88F4-8BC23E181EB5}" srcOrd="11" destOrd="0" presId="urn:microsoft.com/office/officeart/2008/layout/VerticalCurvedList"/>
    <dgm:cxn modelId="{8FBFFF3C-3487-4BB2-BD9F-4D584B6DB1C1}" type="presParOf" srcId="{CD1DA9DF-4149-4A49-B2FA-C5E69964C965}" destId="{BBEAC65A-B425-4417-887D-86B5B4FCF2FD}" srcOrd="12" destOrd="0" presId="urn:microsoft.com/office/officeart/2008/layout/VerticalCurvedList"/>
    <dgm:cxn modelId="{7E3678A0-1A8E-4B05-874B-66BDA178062C}" type="presParOf" srcId="{BBEAC65A-B425-4417-887D-86B5B4FCF2FD}" destId="{42C54A75-CDCD-4AC7-BBE6-D052BF8CB5A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81E10A-1576-4766-AADD-488E9F2E0E12}" type="doc">
      <dgm:prSet loTypeId="urn:microsoft.com/office/officeart/2008/layout/LinedList" loCatId="list" qsTypeId="urn:microsoft.com/office/officeart/2005/8/quickstyle/simple1" qsCatId="simple" csTypeId="urn:microsoft.com/office/officeart/2005/8/colors/colorful4" csCatId="colorful" phldr="1"/>
      <dgm:spPr/>
      <dgm:t>
        <a:bodyPr/>
        <a:lstStyle/>
        <a:p>
          <a:endParaRPr lang="en-US"/>
        </a:p>
      </dgm:t>
    </dgm:pt>
    <dgm:pt modelId="{BCB9BA86-D8BF-49C9-B391-F69CD590D5C4}">
      <dgm:prSet phldrT="[Text]" custT="1"/>
      <dgm:spPr/>
      <dgm:t>
        <a:bodyPr/>
        <a:lstStyle/>
        <a:p>
          <a:r>
            <a:rPr lang="en-US" sz="2400">
              <a:solidFill>
                <a:schemeClr val="tx2"/>
              </a:solidFill>
            </a:rPr>
            <a:t>Soft skills are personal traits or attributes that characterize an individual’s relationships with other people. </a:t>
          </a:r>
        </a:p>
      </dgm:t>
    </dgm:pt>
    <dgm:pt modelId="{3E272002-651E-4042-8F32-407918492649}" type="parTrans" cxnId="{25DDE605-5C3F-4937-8509-982335B178EF}">
      <dgm:prSet/>
      <dgm:spPr/>
      <dgm:t>
        <a:bodyPr/>
        <a:lstStyle/>
        <a:p>
          <a:endParaRPr lang="en-US" sz="2400">
            <a:solidFill>
              <a:schemeClr val="tx2"/>
            </a:solidFill>
          </a:endParaRPr>
        </a:p>
      </dgm:t>
    </dgm:pt>
    <dgm:pt modelId="{7124E114-BA89-40C0-BAE0-BF4C8AB4DBF9}" type="sibTrans" cxnId="{25DDE605-5C3F-4937-8509-982335B178EF}">
      <dgm:prSet/>
      <dgm:spPr/>
      <dgm:t>
        <a:bodyPr/>
        <a:lstStyle/>
        <a:p>
          <a:endParaRPr lang="en-US" sz="2400">
            <a:solidFill>
              <a:schemeClr val="tx2"/>
            </a:solidFill>
          </a:endParaRPr>
        </a:p>
      </dgm:t>
    </dgm:pt>
    <dgm:pt modelId="{F72B49AE-326A-4351-B62A-CA1DB86BB4AB}">
      <dgm:prSet custT="1"/>
      <dgm:spPr/>
      <dgm:t>
        <a:bodyPr/>
        <a:lstStyle/>
        <a:p>
          <a:r>
            <a:rPr lang="en-US" sz="2400" dirty="0">
              <a:solidFill>
                <a:schemeClr val="tx2"/>
              </a:solidFill>
            </a:rPr>
            <a:t>Soft skills are considered to be a complement to hard skills (knowledge and occupational skills).</a:t>
          </a:r>
        </a:p>
      </dgm:t>
    </dgm:pt>
    <dgm:pt modelId="{7BE4537C-2C2F-46EE-878D-2EF6049A6209}" type="parTrans" cxnId="{38F38655-40F3-48AC-8E5E-A4FAD58CD3F7}">
      <dgm:prSet/>
      <dgm:spPr/>
      <dgm:t>
        <a:bodyPr/>
        <a:lstStyle/>
        <a:p>
          <a:endParaRPr lang="en-US" sz="2400">
            <a:solidFill>
              <a:schemeClr val="tx2"/>
            </a:solidFill>
          </a:endParaRPr>
        </a:p>
      </dgm:t>
    </dgm:pt>
    <dgm:pt modelId="{A05CA5B2-FB23-417D-8FE9-97AA62709838}" type="sibTrans" cxnId="{38F38655-40F3-48AC-8E5E-A4FAD58CD3F7}">
      <dgm:prSet/>
      <dgm:spPr/>
      <dgm:t>
        <a:bodyPr/>
        <a:lstStyle/>
        <a:p>
          <a:endParaRPr lang="en-US" sz="2400">
            <a:solidFill>
              <a:schemeClr val="tx2"/>
            </a:solidFill>
          </a:endParaRPr>
        </a:p>
      </dgm:t>
    </dgm:pt>
    <dgm:pt modelId="{3661F328-F9A5-4ED3-94CC-25DD894F2814}">
      <dgm:prSet custT="1"/>
      <dgm:spPr/>
      <dgm:t>
        <a:bodyPr/>
        <a:lstStyle/>
        <a:p>
          <a:r>
            <a:rPr lang="en-US" sz="2400" dirty="0">
              <a:solidFill>
                <a:schemeClr val="tx2"/>
              </a:solidFill>
            </a:rPr>
            <a:t>In healthcare, hard skills refer to technical skills and medical decision-making skills. </a:t>
          </a:r>
        </a:p>
      </dgm:t>
    </dgm:pt>
    <dgm:pt modelId="{B98AA62F-5A41-481C-9BE0-3AC793832C50}" type="parTrans" cxnId="{BD35412A-0106-4CE8-B945-915E2D1CD812}">
      <dgm:prSet/>
      <dgm:spPr/>
      <dgm:t>
        <a:bodyPr/>
        <a:lstStyle/>
        <a:p>
          <a:endParaRPr lang="en-US" sz="2400">
            <a:solidFill>
              <a:schemeClr val="tx2"/>
            </a:solidFill>
          </a:endParaRPr>
        </a:p>
      </dgm:t>
    </dgm:pt>
    <dgm:pt modelId="{6AC60644-9965-4493-9486-A5B9FDE1ADB6}" type="sibTrans" cxnId="{BD35412A-0106-4CE8-B945-915E2D1CD812}">
      <dgm:prSet/>
      <dgm:spPr/>
      <dgm:t>
        <a:bodyPr/>
        <a:lstStyle/>
        <a:p>
          <a:endParaRPr lang="en-US" sz="2400">
            <a:solidFill>
              <a:schemeClr val="tx2"/>
            </a:solidFill>
          </a:endParaRPr>
        </a:p>
      </dgm:t>
    </dgm:pt>
    <dgm:pt modelId="{00DBE74D-0591-4875-B664-3735FDC5B5E1}">
      <dgm:prSet custT="1"/>
      <dgm:spPr/>
      <dgm:t>
        <a:bodyPr/>
        <a:lstStyle/>
        <a:p>
          <a:r>
            <a:rPr lang="en-US" sz="2400">
              <a:solidFill>
                <a:schemeClr val="tx2"/>
              </a:solidFill>
            </a:rPr>
            <a:t>Sociologists use the term soft skills to describe a person's emotional intelligence quotient (EQ).</a:t>
          </a:r>
        </a:p>
      </dgm:t>
    </dgm:pt>
    <dgm:pt modelId="{3EB3CF77-A4B2-4808-8B3A-ED2F928E4244}" type="parTrans" cxnId="{FE6260C5-63B9-4484-B7D4-590CF2F1DC73}">
      <dgm:prSet/>
      <dgm:spPr/>
      <dgm:t>
        <a:bodyPr/>
        <a:lstStyle/>
        <a:p>
          <a:endParaRPr lang="en-US" sz="2400">
            <a:solidFill>
              <a:schemeClr val="tx2"/>
            </a:solidFill>
          </a:endParaRPr>
        </a:p>
      </dgm:t>
    </dgm:pt>
    <dgm:pt modelId="{8F9784D6-0D69-4572-9A72-2E1E443E1F77}" type="sibTrans" cxnId="{FE6260C5-63B9-4484-B7D4-590CF2F1DC73}">
      <dgm:prSet/>
      <dgm:spPr/>
      <dgm:t>
        <a:bodyPr/>
        <a:lstStyle/>
        <a:p>
          <a:endParaRPr lang="en-US" sz="2400">
            <a:solidFill>
              <a:schemeClr val="tx2"/>
            </a:solidFill>
          </a:endParaRPr>
        </a:p>
      </dgm:t>
    </dgm:pt>
    <dgm:pt modelId="{6AF03FC2-0303-4703-9BC0-05D7BC4BD91D}" type="pres">
      <dgm:prSet presAssocID="{6581E10A-1576-4766-AADD-488E9F2E0E12}" presName="vert0" presStyleCnt="0">
        <dgm:presLayoutVars>
          <dgm:dir/>
          <dgm:animOne val="branch"/>
          <dgm:animLvl val="lvl"/>
        </dgm:presLayoutVars>
      </dgm:prSet>
      <dgm:spPr/>
      <dgm:t>
        <a:bodyPr/>
        <a:lstStyle/>
        <a:p>
          <a:endParaRPr lang="en-US"/>
        </a:p>
      </dgm:t>
    </dgm:pt>
    <dgm:pt modelId="{1C4FA58B-6E73-4077-ABE0-C68DBA6BEA46}" type="pres">
      <dgm:prSet presAssocID="{BCB9BA86-D8BF-49C9-B391-F69CD590D5C4}" presName="thickLine" presStyleLbl="alignNode1" presStyleIdx="0" presStyleCnt="4"/>
      <dgm:spPr/>
    </dgm:pt>
    <dgm:pt modelId="{31A3A04E-ABE5-4909-93F8-505DA88E1421}" type="pres">
      <dgm:prSet presAssocID="{BCB9BA86-D8BF-49C9-B391-F69CD590D5C4}" presName="horz1" presStyleCnt="0"/>
      <dgm:spPr/>
    </dgm:pt>
    <dgm:pt modelId="{2F463973-D778-4048-9EB4-ED45F60490B4}" type="pres">
      <dgm:prSet presAssocID="{BCB9BA86-D8BF-49C9-B391-F69CD590D5C4}" presName="tx1" presStyleLbl="revTx" presStyleIdx="0" presStyleCnt="4"/>
      <dgm:spPr/>
      <dgm:t>
        <a:bodyPr/>
        <a:lstStyle/>
        <a:p>
          <a:endParaRPr lang="en-US"/>
        </a:p>
      </dgm:t>
    </dgm:pt>
    <dgm:pt modelId="{9ECE3CD6-FDE1-42D8-97CB-F902E6CA0896}" type="pres">
      <dgm:prSet presAssocID="{BCB9BA86-D8BF-49C9-B391-F69CD590D5C4}" presName="vert1" presStyleCnt="0"/>
      <dgm:spPr/>
    </dgm:pt>
    <dgm:pt modelId="{836442CF-38CF-4716-9A89-E3985D306B0D}" type="pres">
      <dgm:prSet presAssocID="{F72B49AE-326A-4351-B62A-CA1DB86BB4AB}" presName="thickLine" presStyleLbl="alignNode1" presStyleIdx="1" presStyleCnt="4"/>
      <dgm:spPr/>
    </dgm:pt>
    <dgm:pt modelId="{1C05E250-158E-40D1-B9A8-25B6222A8C5B}" type="pres">
      <dgm:prSet presAssocID="{F72B49AE-326A-4351-B62A-CA1DB86BB4AB}" presName="horz1" presStyleCnt="0"/>
      <dgm:spPr/>
    </dgm:pt>
    <dgm:pt modelId="{C2D86CDF-6D9D-459A-ADD4-454F74E75D11}" type="pres">
      <dgm:prSet presAssocID="{F72B49AE-326A-4351-B62A-CA1DB86BB4AB}" presName="tx1" presStyleLbl="revTx" presStyleIdx="1" presStyleCnt="4"/>
      <dgm:spPr/>
      <dgm:t>
        <a:bodyPr/>
        <a:lstStyle/>
        <a:p>
          <a:endParaRPr lang="en-US"/>
        </a:p>
      </dgm:t>
    </dgm:pt>
    <dgm:pt modelId="{0B53AC1C-1EF3-426B-9896-77A1B465CCEF}" type="pres">
      <dgm:prSet presAssocID="{F72B49AE-326A-4351-B62A-CA1DB86BB4AB}" presName="vert1" presStyleCnt="0"/>
      <dgm:spPr/>
    </dgm:pt>
    <dgm:pt modelId="{03E7CA08-1C74-45CF-AC66-B2B83839A825}" type="pres">
      <dgm:prSet presAssocID="{3661F328-F9A5-4ED3-94CC-25DD894F2814}" presName="thickLine" presStyleLbl="alignNode1" presStyleIdx="2" presStyleCnt="4"/>
      <dgm:spPr/>
    </dgm:pt>
    <dgm:pt modelId="{FE97C61F-57C1-4861-9732-FD0AEC822AC8}" type="pres">
      <dgm:prSet presAssocID="{3661F328-F9A5-4ED3-94CC-25DD894F2814}" presName="horz1" presStyleCnt="0"/>
      <dgm:spPr/>
    </dgm:pt>
    <dgm:pt modelId="{33C2B6AD-A9E1-4582-AF6A-AF3FB3CB733C}" type="pres">
      <dgm:prSet presAssocID="{3661F328-F9A5-4ED3-94CC-25DD894F2814}" presName="tx1" presStyleLbl="revTx" presStyleIdx="2" presStyleCnt="4" custScaleY="79995"/>
      <dgm:spPr/>
      <dgm:t>
        <a:bodyPr/>
        <a:lstStyle/>
        <a:p>
          <a:endParaRPr lang="en-US"/>
        </a:p>
      </dgm:t>
    </dgm:pt>
    <dgm:pt modelId="{E3BDCA86-EECA-4AE8-B281-783394B8A68B}" type="pres">
      <dgm:prSet presAssocID="{3661F328-F9A5-4ED3-94CC-25DD894F2814}" presName="vert1" presStyleCnt="0"/>
      <dgm:spPr/>
    </dgm:pt>
    <dgm:pt modelId="{162CE14D-03F6-432A-A9F1-E974C48E20C3}" type="pres">
      <dgm:prSet presAssocID="{00DBE74D-0591-4875-B664-3735FDC5B5E1}" presName="thickLine" presStyleLbl="alignNode1" presStyleIdx="3" presStyleCnt="4"/>
      <dgm:spPr/>
    </dgm:pt>
    <dgm:pt modelId="{C4087DB1-CB51-4E0C-89B2-896BFDAD5C5B}" type="pres">
      <dgm:prSet presAssocID="{00DBE74D-0591-4875-B664-3735FDC5B5E1}" presName="horz1" presStyleCnt="0"/>
      <dgm:spPr/>
    </dgm:pt>
    <dgm:pt modelId="{776CE8CA-406E-4FEC-8F3D-BFACA48628DE}" type="pres">
      <dgm:prSet presAssocID="{00DBE74D-0591-4875-B664-3735FDC5B5E1}" presName="tx1" presStyleLbl="revTx" presStyleIdx="3" presStyleCnt="4"/>
      <dgm:spPr/>
      <dgm:t>
        <a:bodyPr/>
        <a:lstStyle/>
        <a:p>
          <a:endParaRPr lang="en-US"/>
        </a:p>
      </dgm:t>
    </dgm:pt>
    <dgm:pt modelId="{CA4E9B9A-A315-4B02-AC2B-C3A6E5431B95}" type="pres">
      <dgm:prSet presAssocID="{00DBE74D-0591-4875-B664-3735FDC5B5E1}" presName="vert1" presStyleCnt="0"/>
      <dgm:spPr/>
    </dgm:pt>
  </dgm:ptLst>
  <dgm:cxnLst>
    <dgm:cxn modelId="{25DDE605-5C3F-4937-8509-982335B178EF}" srcId="{6581E10A-1576-4766-AADD-488E9F2E0E12}" destId="{BCB9BA86-D8BF-49C9-B391-F69CD590D5C4}" srcOrd="0" destOrd="0" parTransId="{3E272002-651E-4042-8F32-407918492649}" sibTransId="{7124E114-BA89-40C0-BAE0-BF4C8AB4DBF9}"/>
    <dgm:cxn modelId="{F00422D7-7ADA-4F1D-9CEA-E4C6A4DFDE07}" type="presOf" srcId="{BCB9BA86-D8BF-49C9-B391-F69CD590D5C4}" destId="{2F463973-D778-4048-9EB4-ED45F60490B4}" srcOrd="0" destOrd="0" presId="urn:microsoft.com/office/officeart/2008/layout/LinedList"/>
    <dgm:cxn modelId="{05416199-A0C1-4244-B042-FF6D94A67699}" type="presOf" srcId="{00DBE74D-0591-4875-B664-3735FDC5B5E1}" destId="{776CE8CA-406E-4FEC-8F3D-BFACA48628DE}" srcOrd="0" destOrd="0" presId="urn:microsoft.com/office/officeart/2008/layout/LinedList"/>
    <dgm:cxn modelId="{7E96BB9C-4E67-427A-A357-FDC7788C36DE}" type="presOf" srcId="{3661F328-F9A5-4ED3-94CC-25DD894F2814}" destId="{33C2B6AD-A9E1-4582-AF6A-AF3FB3CB733C}" srcOrd="0" destOrd="0" presId="urn:microsoft.com/office/officeart/2008/layout/LinedList"/>
    <dgm:cxn modelId="{B44A7BFC-EFEA-4169-B607-DA410AE908B4}" type="presOf" srcId="{6581E10A-1576-4766-AADD-488E9F2E0E12}" destId="{6AF03FC2-0303-4703-9BC0-05D7BC4BD91D}" srcOrd="0" destOrd="0" presId="urn:microsoft.com/office/officeart/2008/layout/LinedList"/>
    <dgm:cxn modelId="{BD35412A-0106-4CE8-B945-915E2D1CD812}" srcId="{6581E10A-1576-4766-AADD-488E9F2E0E12}" destId="{3661F328-F9A5-4ED3-94CC-25DD894F2814}" srcOrd="2" destOrd="0" parTransId="{B98AA62F-5A41-481C-9BE0-3AC793832C50}" sibTransId="{6AC60644-9965-4493-9486-A5B9FDE1ADB6}"/>
    <dgm:cxn modelId="{E02646E0-D78D-4AF2-94D8-CE37CB146756}" type="presOf" srcId="{F72B49AE-326A-4351-B62A-CA1DB86BB4AB}" destId="{C2D86CDF-6D9D-459A-ADD4-454F74E75D11}" srcOrd="0" destOrd="0" presId="urn:microsoft.com/office/officeart/2008/layout/LinedList"/>
    <dgm:cxn modelId="{38F38655-40F3-48AC-8E5E-A4FAD58CD3F7}" srcId="{6581E10A-1576-4766-AADD-488E9F2E0E12}" destId="{F72B49AE-326A-4351-B62A-CA1DB86BB4AB}" srcOrd="1" destOrd="0" parTransId="{7BE4537C-2C2F-46EE-878D-2EF6049A6209}" sibTransId="{A05CA5B2-FB23-417D-8FE9-97AA62709838}"/>
    <dgm:cxn modelId="{FE6260C5-63B9-4484-B7D4-590CF2F1DC73}" srcId="{6581E10A-1576-4766-AADD-488E9F2E0E12}" destId="{00DBE74D-0591-4875-B664-3735FDC5B5E1}" srcOrd="3" destOrd="0" parTransId="{3EB3CF77-A4B2-4808-8B3A-ED2F928E4244}" sibTransId="{8F9784D6-0D69-4572-9A72-2E1E443E1F77}"/>
    <dgm:cxn modelId="{68806C33-D2E3-4C00-AE93-B94924ADE79A}" type="presParOf" srcId="{6AF03FC2-0303-4703-9BC0-05D7BC4BD91D}" destId="{1C4FA58B-6E73-4077-ABE0-C68DBA6BEA46}" srcOrd="0" destOrd="0" presId="urn:microsoft.com/office/officeart/2008/layout/LinedList"/>
    <dgm:cxn modelId="{9CBD1CAE-6DAD-4C18-AA70-CBE41C464826}" type="presParOf" srcId="{6AF03FC2-0303-4703-9BC0-05D7BC4BD91D}" destId="{31A3A04E-ABE5-4909-93F8-505DA88E1421}" srcOrd="1" destOrd="0" presId="urn:microsoft.com/office/officeart/2008/layout/LinedList"/>
    <dgm:cxn modelId="{D0521CF3-E4F2-4E70-9BC4-3222CD0A04BF}" type="presParOf" srcId="{31A3A04E-ABE5-4909-93F8-505DA88E1421}" destId="{2F463973-D778-4048-9EB4-ED45F60490B4}" srcOrd="0" destOrd="0" presId="urn:microsoft.com/office/officeart/2008/layout/LinedList"/>
    <dgm:cxn modelId="{9C65A925-B898-409B-8B35-2BF30F6E57CB}" type="presParOf" srcId="{31A3A04E-ABE5-4909-93F8-505DA88E1421}" destId="{9ECE3CD6-FDE1-42D8-97CB-F902E6CA0896}" srcOrd="1" destOrd="0" presId="urn:microsoft.com/office/officeart/2008/layout/LinedList"/>
    <dgm:cxn modelId="{A478B833-2844-431A-9E84-7B794A3605E3}" type="presParOf" srcId="{6AF03FC2-0303-4703-9BC0-05D7BC4BD91D}" destId="{836442CF-38CF-4716-9A89-E3985D306B0D}" srcOrd="2" destOrd="0" presId="urn:microsoft.com/office/officeart/2008/layout/LinedList"/>
    <dgm:cxn modelId="{CAFA12DF-3424-4D75-88C9-AEA042566585}" type="presParOf" srcId="{6AF03FC2-0303-4703-9BC0-05D7BC4BD91D}" destId="{1C05E250-158E-40D1-B9A8-25B6222A8C5B}" srcOrd="3" destOrd="0" presId="urn:microsoft.com/office/officeart/2008/layout/LinedList"/>
    <dgm:cxn modelId="{3F1F757A-BE62-41A4-973F-6B734757B46F}" type="presParOf" srcId="{1C05E250-158E-40D1-B9A8-25B6222A8C5B}" destId="{C2D86CDF-6D9D-459A-ADD4-454F74E75D11}" srcOrd="0" destOrd="0" presId="urn:microsoft.com/office/officeart/2008/layout/LinedList"/>
    <dgm:cxn modelId="{D311B9E7-E762-4472-99F0-7E2BD9FC0EFE}" type="presParOf" srcId="{1C05E250-158E-40D1-B9A8-25B6222A8C5B}" destId="{0B53AC1C-1EF3-426B-9896-77A1B465CCEF}" srcOrd="1" destOrd="0" presId="urn:microsoft.com/office/officeart/2008/layout/LinedList"/>
    <dgm:cxn modelId="{C2F842FA-39E3-4A98-A36F-497335A59EDF}" type="presParOf" srcId="{6AF03FC2-0303-4703-9BC0-05D7BC4BD91D}" destId="{03E7CA08-1C74-45CF-AC66-B2B83839A825}" srcOrd="4" destOrd="0" presId="urn:microsoft.com/office/officeart/2008/layout/LinedList"/>
    <dgm:cxn modelId="{8FE54718-8561-4FF1-A93A-D28E635220FC}" type="presParOf" srcId="{6AF03FC2-0303-4703-9BC0-05D7BC4BD91D}" destId="{FE97C61F-57C1-4861-9732-FD0AEC822AC8}" srcOrd="5" destOrd="0" presId="urn:microsoft.com/office/officeart/2008/layout/LinedList"/>
    <dgm:cxn modelId="{317546CA-A5E2-46FD-847A-28B64A66D4E9}" type="presParOf" srcId="{FE97C61F-57C1-4861-9732-FD0AEC822AC8}" destId="{33C2B6AD-A9E1-4582-AF6A-AF3FB3CB733C}" srcOrd="0" destOrd="0" presId="urn:microsoft.com/office/officeart/2008/layout/LinedList"/>
    <dgm:cxn modelId="{4DE1E122-BCB6-4793-851F-1AA23617BC01}" type="presParOf" srcId="{FE97C61F-57C1-4861-9732-FD0AEC822AC8}" destId="{E3BDCA86-EECA-4AE8-B281-783394B8A68B}" srcOrd="1" destOrd="0" presId="urn:microsoft.com/office/officeart/2008/layout/LinedList"/>
    <dgm:cxn modelId="{26F4BF12-638B-4AD6-AD99-666C40C42E46}" type="presParOf" srcId="{6AF03FC2-0303-4703-9BC0-05D7BC4BD91D}" destId="{162CE14D-03F6-432A-A9F1-E974C48E20C3}" srcOrd="6" destOrd="0" presId="urn:microsoft.com/office/officeart/2008/layout/LinedList"/>
    <dgm:cxn modelId="{AE0CD395-5296-4990-B013-F004B6548992}" type="presParOf" srcId="{6AF03FC2-0303-4703-9BC0-05D7BC4BD91D}" destId="{C4087DB1-CB51-4E0C-89B2-896BFDAD5C5B}" srcOrd="7" destOrd="0" presId="urn:microsoft.com/office/officeart/2008/layout/LinedList"/>
    <dgm:cxn modelId="{F72A4249-7B69-40F0-9E95-5696D7D66CB9}" type="presParOf" srcId="{C4087DB1-CB51-4E0C-89B2-896BFDAD5C5B}" destId="{776CE8CA-406E-4FEC-8F3D-BFACA48628DE}" srcOrd="0" destOrd="0" presId="urn:microsoft.com/office/officeart/2008/layout/LinedList"/>
    <dgm:cxn modelId="{964E0FFB-A0D7-473F-A39B-911EBBF0DC9C}" type="presParOf" srcId="{C4087DB1-CB51-4E0C-89B2-896BFDAD5C5B}" destId="{CA4E9B9A-A315-4B02-AC2B-C3A6E5431B9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3745FD7-2770-4914-92BE-76DF0E75A548}" type="doc">
      <dgm:prSet loTypeId="urn:microsoft.com/office/officeart/2008/layout/LinedList" loCatId="list" qsTypeId="urn:microsoft.com/office/officeart/2005/8/quickstyle/simple1" qsCatId="simple" csTypeId="urn:microsoft.com/office/officeart/2005/8/colors/colorful4" csCatId="colorful" phldr="1"/>
      <dgm:spPr/>
      <dgm:t>
        <a:bodyPr/>
        <a:lstStyle/>
        <a:p>
          <a:endParaRPr lang="en-US"/>
        </a:p>
      </dgm:t>
    </dgm:pt>
    <dgm:pt modelId="{17A148B2-85F0-47C2-B47E-D9DFB7CFAC02}">
      <dgm:prSet phldrT="[Text]" custT="1"/>
      <dgm:spPr/>
      <dgm:t>
        <a:bodyPr/>
        <a:lstStyle/>
        <a:p>
          <a:r>
            <a:rPr lang="en-US" sz="1800" dirty="0">
              <a:solidFill>
                <a:schemeClr val="tx2"/>
              </a:solidFill>
              <a:latin typeface="+mn-lt"/>
            </a:rPr>
            <a:t>In healthcare, soft skills allow individuals to communicate effectively, build </a:t>
          </a:r>
          <a:br>
            <a:rPr lang="en-US" sz="1800" dirty="0">
              <a:solidFill>
                <a:schemeClr val="tx2"/>
              </a:solidFill>
              <a:latin typeface="+mn-lt"/>
            </a:rPr>
          </a:br>
          <a:r>
            <a:rPr lang="en-US" sz="1800" dirty="0">
              <a:solidFill>
                <a:schemeClr val="tx2"/>
              </a:solidFill>
              <a:latin typeface="+mn-lt"/>
            </a:rPr>
            <a:t>relationships, solve problems, and maintain professionalism.</a:t>
          </a:r>
        </a:p>
      </dgm:t>
    </dgm:pt>
    <dgm:pt modelId="{EA396C2C-A904-42B2-8547-D4802CD07F58}" type="parTrans" cxnId="{0F3FCD03-D711-48E9-B45C-73796AC33806}">
      <dgm:prSet/>
      <dgm:spPr/>
      <dgm:t>
        <a:bodyPr/>
        <a:lstStyle/>
        <a:p>
          <a:endParaRPr lang="en-US" sz="1800">
            <a:solidFill>
              <a:schemeClr val="tx2"/>
            </a:solidFill>
            <a:latin typeface="+mn-lt"/>
          </a:endParaRPr>
        </a:p>
      </dgm:t>
    </dgm:pt>
    <dgm:pt modelId="{24EDDBD8-E881-495E-889C-F74D059B92CB}" type="sibTrans" cxnId="{0F3FCD03-D711-48E9-B45C-73796AC33806}">
      <dgm:prSet/>
      <dgm:spPr/>
      <dgm:t>
        <a:bodyPr/>
        <a:lstStyle/>
        <a:p>
          <a:endParaRPr lang="en-US" sz="1800">
            <a:solidFill>
              <a:schemeClr val="tx2"/>
            </a:solidFill>
            <a:latin typeface="+mn-lt"/>
          </a:endParaRPr>
        </a:p>
      </dgm:t>
    </dgm:pt>
    <dgm:pt modelId="{5124EEAF-D26F-4BA4-9815-A1CF6482AFBF}">
      <dgm:prSet custT="1"/>
      <dgm:spPr/>
      <dgm:t>
        <a:bodyPr/>
        <a:lstStyle/>
        <a:p>
          <a:r>
            <a:rPr lang="en-US" sz="1800">
              <a:solidFill>
                <a:schemeClr val="tx2"/>
              </a:solidFill>
              <a:latin typeface="+mn-lt"/>
            </a:rPr>
            <a:t>Physician education and training programs are increasingly recognizing the value of soft skills and incorporating them into curricula and requirements.</a:t>
          </a:r>
          <a:endParaRPr lang="en-US" sz="1800" dirty="0">
            <a:solidFill>
              <a:schemeClr val="tx2"/>
            </a:solidFill>
            <a:latin typeface="+mn-lt"/>
          </a:endParaRPr>
        </a:p>
      </dgm:t>
    </dgm:pt>
    <dgm:pt modelId="{90EB2DBC-A9DC-4AD7-BBD3-124826D3339B}" type="parTrans" cxnId="{B2B07924-5DC8-4615-B952-EA8AFEDE368A}">
      <dgm:prSet/>
      <dgm:spPr/>
      <dgm:t>
        <a:bodyPr/>
        <a:lstStyle/>
        <a:p>
          <a:endParaRPr lang="en-US" sz="1800">
            <a:solidFill>
              <a:schemeClr val="tx2"/>
            </a:solidFill>
            <a:latin typeface="+mn-lt"/>
          </a:endParaRPr>
        </a:p>
      </dgm:t>
    </dgm:pt>
    <dgm:pt modelId="{94A2F8EA-4837-4CEF-AF77-4D76ED40F2F3}" type="sibTrans" cxnId="{B2B07924-5DC8-4615-B952-EA8AFEDE368A}">
      <dgm:prSet/>
      <dgm:spPr/>
      <dgm:t>
        <a:bodyPr/>
        <a:lstStyle/>
        <a:p>
          <a:endParaRPr lang="en-US" sz="1800">
            <a:solidFill>
              <a:schemeClr val="tx2"/>
            </a:solidFill>
            <a:latin typeface="+mn-lt"/>
          </a:endParaRPr>
        </a:p>
      </dgm:t>
    </dgm:pt>
    <dgm:pt modelId="{9AD9F104-A24B-4C51-B8EA-9059725ECEE0}">
      <dgm:prSet custT="1"/>
      <dgm:spPr/>
      <dgm:t>
        <a:bodyPr/>
        <a:lstStyle/>
        <a:p>
          <a:r>
            <a:rPr lang="en-US" sz="1800" dirty="0">
              <a:solidFill>
                <a:schemeClr val="tx2"/>
              </a:solidFill>
              <a:latin typeface="+mn-lt"/>
            </a:rPr>
            <a:t>Communication, a critical soft skill, is a contributing factor in 46% of malpractice cases. Communication failures can occur among members of the healthcare team or between clinicians and patients.</a:t>
          </a:r>
        </a:p>
      </dgm:t>
    </dgm:pt>
    <dgm:pt modelId="{6256D718-A942-4CF3-B7E2-45971B2EF2C2}" type="parTrans" cxnId="{6A506186-BE7C-4C83-A8F8-98A430ACAD90}">
      <dgm:prSet/>
      <dgm:spPr/>
      <dgm:t>
        <a:bodyPr/>
        <a:lstStyle/>
        <a:p>
          <a:endParaRPr lang="en-US" sz="1800">
            <a:solidFill>
              <a:schemeClr val="tx2"/>
            </a:solidFill>
            <a:latin typeface="+mn-lt"/>
          </a:endParaRPr>
        </a:p>
      </dgm:t>
    </dgm:pt>
    <dgm:pt modelId="{9960E545-551C-43C2-9156-02FE354750BA}" type="sibTrans" cxnId="{6A506186-BE7C-4C83-A8F8-98A430ACAD90}">
      <dgm:prSet/>
      <dgm:spPr/>
      <dgm:t>
        <a:bodyPr/>
        <a:lstStyle/>
        <a:p>
          <a:endParaRPr lang="en-US" sz="1800">
            <a:solidFill>
              <a:schemeClr val="tx2"/>
            </a:solidFill>
            <a:latin typeface="+mn-lt"/>
          </a:endParaRPr>
        </a:p>
      </dgm:t>
    </dgm:pt>
    <dgm:pt modelId="{B9CF07AF-118B-425F-9919-29F5AF472BC9}">
      <dgm:prSet custT="1"/>
      <dgm:spPr/>
      <dgm:t>
        <a:bodyPr/>
        <a:lstStyle/>
        <a:p>
          <a:r>
            <a:rPr lang="en-US" sz="1800" dirty="0">
              <a:solidFill>
                <a:schemeClr val="tx2"/>
              </a:solidFill>
              <a:latin typeface="+mn-lt"/>
            </a:rPr>
            <a:t>Behavior is another factor that contributes to malpractice risk. Disruptive behaviors can lead to medical errors, decrease patient satisfaction, increase costs, and affect the overall quality of care provided.</a:t>
          </a:r>
        </a:p>
      </dgm:t>
    </dgm:pt>
    <dgm:pt modelId="{5B8B2F47-463F-4362-A830-300FB1F9A115}" type="parTrans" cxnId="{61368492-373C-4277-8FF1-0FB6FA56E9D8}">
      <dgm:prSet/>
      <dgm:spPr/>
      <dgm:t>
        <a:bodyPr/>
        <a:lstStyle/>
        <a:p>
          <a:endParaRPr lang="en-US" sz="1800">
            <a:solidFill>
              <a:schemeClr val="tx2"/>
            </a:solidFill>
            <a:latin typeface="+mn-lt"/>
          </a:endParaRPr>
        </a:p>
      </dgm:t>
    </dgm:pt>
    <dgm:pt modelId="{71CEDD70-630E-4734-B3A9-1D436F33650F}" type="sibTrans" cxnId="{61368492-373C-4277-8FF1-0FB6FA56E9D8}">
      <dgm:prSet/>
      <dgm:spPr/>
      <dgm:t>
        <a:bodyPr/>
        <a:lstStyle/>
        <a:p>
          <a:endParaRPr lang="en-US" sz="1800">
            <a:solidFill>
              <a:schemeClr val="tx2"/>
            </a:solidFill>
            <a:latin typeface="+mn-lt"/>
          </a:endParaRPr>
        </a:p>
      </dgm:t>
    </dgm:pt>
    <dgm:pt modelId="{B6851264-32C8-40B5-958F-BA777903C14C}">
      <dgm:prSet custT="1"/>
      <dgm:spPr/>
      <dgm:t>
        <a:bodyPr/>
        <a:lstStyle/>
        <a:p>
          <a:r>
            <a:rPr lang="en-US" sz="1800" dirty="0">
              <a:solidFill>
                <a:schemeClr val="tx2"/>
              </a:solidFill>
              <a:latin typeface="+mn-lt"/>
            </a:rPr>
            <a:t>Burnout and lack of empathy are other issues that plague healthcare and can result in toxic work environments, staff absenteeism and turnover, and increased professional liability exposure.</a:t>
          </a:r>
        </a:p>
      </dgm:t>
    </dgm:pt>
    <dgm:pt modelId="{FA0FDBA4-086D-4352-8AB2-53E4CC74F6FF}" type="parTrans" cxnId="{E550C1FA-A2E0-45F7-AD51-29681AD3F57C}">
      <dgm:prSet/>
      <dgm:spPr/>
      <dgm:t>
        <a:bodyPr/>
        <a:lstStyle/>
        <a:p>
          <a:endParaRPr lang="en-US" sz="1800">
            <a:solidFill>
              <a:schemeClr val="tx2"/>
            </a:solidFill>
            <a:latin typeface="+mn-lt"/>
          </a:endParaRPr>
        </a:p>
      </dgm:t>
    </dgm:pt>
    <dgm:pt modelId="{0E772C89-0B69-4350-A994-C762286C2D88}" type="sibTrans" cxnId="{E550C1FA-A2E0-45F7-AD51-29681AD3F57C}">
      <dgm:prSet/>
      <dgm:spPr/>
      <dgm:t>
        <a:bodyPr/>
        <a:lstStyle/>
        <a:p>
          <a:endParaRPr lang="en-US" sz="1800">
            <a:solidFill>
              <a:schemeClr val="tx2"/>
            </a:solidFill>
            <a:latin typeface="+mn-lt"/>
          </a:endParaRPr>
        </a:p>
      </dgm:t>
    </dgm:pt>
    <dgm:pt modelId="{2A36167C-08A9-44BD-8255-139C8548884C}">
      <dgm:prSet custT="1"/>
      <dgm:spPr/>
      <dgm:t>
        <a:bodyPr/>
        <a:lstStyle/>
        <a:p>
          <a:r>
            <a:rPr lang="en-US" sz="1800">
              <a:solidFill>
                <a:schemeClr val="tx2"/>
              </a:solidFill>
              <a:latin typeface="+mn-lt"/>
            </a:rPr>
            <a:t>Strategies to enhance soft skills and address pervasive problems in healthcare can benefit physicians by cultivating better doctor–patient relationships, alleviating burnout, improving teamwork, reinforcing safety culture, and reducing medical errors.</a:t>
          </a:r>
          <a:endParaRPr lang="en-US" sz="1800" dirty="0">
            <a:solidFill>
              <a:schemeClr val="tx2"/>
            </a:solidFill>
            <a:latin typeface="+mn-lt"/>
          </a:endParaRPr>
        </a:p>
      </dgm:t>
    </dgm:pt>
    <dgm:pt modelId="{BF58AFA4-35AA-4837-B850-649C52454635}" type="parTrans" cxnId="{2A4096A5-C1EF-474F-B60E-B38F94B02CFE}">
      <dgm:prSet/>
      <dgm:spPr/>
      <dgm:t>
        <a:bodyPr/>
        <a:lstStyle/>
        <a:p>
          <a:endParaRPr lang="en-US" sz="1800">
            <a:solidFill>
              <a:schemeClr val="tx2"/>
            </a:solidFill>
            <a:latin typeface="+mn-lt"/>
          </a:endParaRPr>
        </a:p>
      </dgm:t>
    </dgm:pt>
    <dgm:pt modelId="{CB203310-DF85-4410-8958-C8835FEBBB73}" type="sibTrans" cxnId="{2A4096A5-C1EF-474F-B60E-B38F94B02CFE}">
      <dgm:prSet/>
      <dgm:spPr/>
      <dgm:t>
        <a:bodyPr/>
        <a:lstStyle/>
        <a:p>
          <a:endParaRPr lang="en-US" sz="1800">
            <a:solidFill>
              <a:schemeClr val="tx2"/>
            </a:solidFill>
            <a:latin typeface="+mn-lt"/>
          </a:endParaRPr>
        </a:p>
      </dgm:t>
    </dgm:pt>
    <dgm:pt modelId="{920D51EA-2771-4E4C-B0BC-F665AA32EC1F}" type="pres">
      <dgm:prSet presAssocID="{F3745FD7-2770-4914-92BE-76DF0E75A548}" presName="vert0" presStyleCnt="0">
        <dgm:presLayoutVars>
          <dgm:dir/>
          <dgm:animOne val="branch"/>
          <dgm:animLvl val="lvl"/>
        </dgm:presLayoutVars>
      </dgm:prSet>
      <dgm:spPr/>
      <dgm:t>
        <a:bodyPr/>
        <a:lstStyle/>
        <a:p>
          <a:endParaRPr lang="en-US"/>
        </a:p>
      </dgm:t>
    </dgm:pt>
    <dgm:pt modelId="{7361100B-0E2A-4EAE-AC8C-208C9AC56F95}" type="pres">
      <dgm:prSet presAssocID="{17A148B2-85F0-47C2-B47E-D9DFB7CFAC02}" presName="thickLine" presStyleLbl="alignNode1" presStyleIdx="0" presStyleCnt="6"/>
      <dgm:spPr/>
    </dgm:pt>
    <dgm:pt modelId="{0FA615FB-75B0-4492-97AF-0D517447416C}" type="pres">
      <dgm:prSet presAssocID="{17A148B2-85F0-47C2-B47E-D9DFB7CFAC02}" presName="horz1" presStyleCnt="0"/>
      <dgm:spPr/>
    </dgm:pt>
    <dgm:pt modelId="{5240EE99-5F33-4E60-AA61-4C9D3329864B}" type="pres">
      <dgm:prSet presAssocID="{17A148B2-85F0-47C2-B47E-D9DFB7CFAC02}" presName="tx1" presStyleLbl="revTx" presStyleIdx="0" presStyleCnt="6"/>
      <dgm:spPr/>
      <dgm:t>
        <a:bodyPr/>
        <a:lstStyle/>
        <a:p>
          <a:endParaRPr lang="en-US"/>
        </a:p>
      </dgm:t>
    </dgm:pt>
    <dgm:pt modelId="{538CC988-EBDA-4BCF-A313-DDED41F40761}" type="pres">
      <dgm:prSet presAssocID="{17A148B2-85F0-47C2-B47E-D9DFB7CFAC02}" presName="vert1" presStyleCnt="0"/>
      <dgm:spPr/>
    </dgm:pt>
    <dgm:pt modelId="{21A8BA9F-B70D-4738-8E80-2DAA8442E898}" type="pres">
      <dgm:prSet presAssocID="{5124EEAF-D26F-4BA4-9815-A1CF6482AFBF}" presName="thickLine" presStyleLbl="alignNode1" presStyleIdx="1" presStyleCnt="6"/>
      <dgm:spPr/>
    </dgm:pt>
    <dgm:pt modelId="{C5DB3DC5-683A-416C-A611-FB60CE0F61D3}" type="pres">
      <dgm:prSet presAssocID="{5124EEAF-D26F-4BA4-9815-A1CF6482AFBF}" presName="horz1" presStyleCnt="0"/>
      <dgm:spPr/>
    </dgm:pt>
    <dgm:pt modelId="{F06421D4-2E7B-497E-A49C-DBA99393B609}" type="pres">
      <dgm:prSet presAssocID="{5124EEAF-D26F-4BA4-9815-A1CF6482AFBF}" presName="tx1" presStyleLbl="revTx" presStyleIdx="1" presStyleCnt="6"/>
      <dgm:spPr/>
      <dgm:t>
        <a:bodyPr/>
        <a:lstStyle/>
        <a:p>
          <a:endParaRPr lang="en-US"/>
        </a:p>
      </dgm:t>
    </dgm:pt>
    <dgm:pt modelId="{A40A9362-FD4F-48BD-A57F-47EDFCA64413}" type="pres">
      <dgm:prSet presAssocID="{5124EEAF-D26F-4BA4-9815-A1CF6482AFBF}" presName="vert1" presStyleCnt="0"/>
      <dgm:spPr/>
    </dgm:pt>
    <dgm:pt modelId="{C512CBDB-DC8D-4157-AE81-B87169F74FBD}" type="pres">
      <dgm:prSet presAssocID="{9AD9F104-A24B-4C51-B8EA-9059725ECEE0}" presName="thickLine" presStyleLbl="alignNode1" presStyleIdx="2" presStyleCnt="6"/>
      <dgm:spPr/>
    </dgm:pt>
    <dgm:pt modelId="{4D6A7D05-38AB-4890-AF93-BCD4BD3215CC}" type="pres">
      <dgm:prSet presAssocID="{9AD9F104-A24B-4C51-B8EA-9059725ECEE0}" presName="horz1" presStyleCnt="0"/>
      <dgm:spPr/>
    </dgm:pt>
    <dgm:pt modelId="{479DD72A-6059-4342-B91F-DFE6858175E9}" type="pres">
      <dgm:prSet presAssocID="{9AD9F104-A24B-4C51-B8EA-9059725ECEE0}" presName="tx1" presStyleLbl="revTx" presStyleIdx="2" presStyleCnt="6"/>
      <dgm:spPr/>
      <dgm:t>
        <a:bodyPr/>
        <a:lstStyle/>
        <a:p>
          <a:endParaRPr lang="en-US"/>
        </a:p>
      </dgm:t>
    </dgm:pt>
    <dgm:pt modelId="{0B63CF48-70AD-466C-9DF4-2FC7D5EE120F}" type="pres">
      <dgm:prSet presAssocID="{9AD9F104-A24B-4C51-B8EA-9059725ECEE0}" presName="vert1" presStyleCnt="0"/>
      <dgm:spPr/>
    </dgm:pt>
    <dgm:pt modelId="{00B6D4CA-07B1-40CC-AC4A-64D708930AED}" type="pres">
      <dgm:prSet presAssocID="{B9CF07AF-118B-425F-9919-29F5AF472BC9}" presName="thickLine" presStyleLbl="alignNode1" presStyleIdx="3" presStyleCnt="6"/>
      <dgm:spPr/>
    </dgm:pt>
    <dgm:pt modelId="{156BB53E-4240-4C52-B4B9-7A1DB0054FFA}" type="pres">
      <dgm:prSet presAssocID="{B9CF07AF-118B-425F-9919-29F5AF472BC9}" presName="horz1" presStyleCnt="0"/>
      <dgm:spPr/>
    </dgm:pt>
    <dgm:pt modelId="{8F1567DF-0E48-48F5-A47A-EE0DB3907C6B}" type="pres">
      <dgm:prSet presAssocID="{B9CF07AF-118B-425F-9919-29F5AF472BC9}" presName="tx1" presStyleLbl="revTx" presStyleIdx="3" presStyleCnt="6"/>
      <dgm:spPr/>
      <dgm:t>
        <a:bodyPr/>
        <a:lstStyle/>
        <a:p>
          <a:endParaRPr lang="en-US"/>
        </a:p>
      </dgm:t>
    </dgm:pt>
    <dgm:pt modelId="{7407B4EC-EECA-4A70-98F7-1BFD9A8C7DD4}" type="pres">
      <dgm:prSet presAssocID="{B9CF07AF-118B-425F-9919-29F5AF472BC9}" presName="vert1" presStyleCnt="0"/>
      <dgm:spPr/>
    </dgm:pt>
    <dgm:pt modelId="{08BE4898-AB26-4F5F-A778-12EE0A59632E}" type="pres">
      <dgm:prSet presAssocID="{B6851264-32C8-40B5-958F-BA777903C14C}" presName="thickLine" presStyleLbl="alignNode1" presStyleIdx="4" presStyleCnt="6"/>
      <dgm:spPr/>
    </dgm:pt>
    <dgm:pt modelId="{7D8ADD02-1DAB-47B3-8DB6-F847ADC64E98}" type="pres">
      <dgm:prSet presAssocID="{B6851264-32C8-40B5-958F-BA777903C14C}" presName="horz1" presStyleCnt="0"/>
      <dgm:spPr/>
    </dgm:pt>
    <dgm:pt modelId="{4BBD612B-4114-43D5-92FA-EA8D322FAF5E}" type="pres">
      <dgm:prSet presAssocID="{B6851264-32C8-40B5-958F-BA777903C14C}" presName="tx1" presStyleLbl="revTx" presStyleIdx="4" presStyleCnt="6"/>
      <dgm:spPr/>
      <dgm:t>
        <a:bodyPr/>
        <a:lstStyle/>
        <a:p>
          <a:endParaRPr lang="en-US"/>
        </a:p>
      </dgm:t>
    </dgm:pt>
    <dgm:pt modelId="{9B74C21A-D196-47D6-BB07-8AFA0B79860C}" type="pres">
      <dgm:prSet presAssocID="{B6851264-32C8-40B5-958F-BA777903C14C}" presName="vert1" presStyleCnt="0"/>
      <dgm:spPr/>
    </dgm:pt>
    <dgm:pt modelId="{AB310D8D-A270-41F9-B6F5-300927A57930}" type="pres">
      <dgm:prSet presAssocID="{2A36167C-08A9-44BD-8255-139C8548884C}" presName="thickLine" presStyleLbl="alignNode1" presStyleIdx="5" presStyleCnt="6"/>
      <dgm:spPr/>
    </dgm:pt>
    <dgm:pt modelId="{C262DD07-7006-4D4A-AB65-EA9AD08ECBEC}" type="pres">
      <dgm:prSet presAssocID="{2A36167C-08A9-44BD-8255-139C8548884C}" presName="horz1" presStyleCnt="0"/>
      <dgm:spPr/>
    </dgm:pt>
    <dgm:pt modelId="{FA449E30-9EF9-4ADD-8915-75F62C7F2324}" type="pres">
      <dgm:prSet presAssocID="{2A36167C-08A9-44BD-8255-139C8548884C}" presName="tx1" presStyleLbl="revTx" presStyleIdx="5" presStyleCnt="6"/>
      <dgm:spPr/>
      <dgm:t>
        <a:bodyPr/>
        <a:lstStyle/>
        <a:p>
          <a:endParaRPr lang="en-US"/>
        </a:p>
      </dgm:t>
    </dgm:pt>
    <dgm:pt modelId="{D0B7165D-BC91-4ABB-8289-B07689CF1445}" type="pres">
      <dgm:prSet presAssocID="{2A36167C-08A9-44BD-8255-139C8548884C}" presName="vert1" presStyleCnt="0"/>
      <dgm:spPr/>
    </dgm:pt>
  </dgm:ptLst>
  <dgm:cxnLst>
    <dgm:cxn modelId="{2A4096A5-C1EF-474F-B60E-B38F94B02CFE}" srcId="{F3745FD7-2770-4914-92BE-76DF0E75A548}" destId="{2A36167C-08A9-44BD-8255-139C8548884C}" srcOrd="5" destOrd="0" parTransId="{BF58AFA4-35AA-4837-B850-649C52454635}" sibTransId="{CB203310-DF85-4410-8958-C8835FEBBB73}"/>
    <dgm:cxn modelId="{61368492-373C-4277-8FF1-0FB6FA56E9D8}" srcId="{F3745FD7-2770-4914-92BE-76DF0E75A548}" destId="{B9CF07AF-118B-425F-9919-29F5AF472BC9}" srcOrd="3" destOrd="0" parTransId="{5B8B2F47-463F-4362-A830-300FB1F9A115}" sibTransId="{71CEDD70-630E-4734-B3A9-1D436F33650F}"/>
    <dgm:cxn modelId="{A1B890A4-0229-43BA-8768-747ECC8DA634}" type="presOf" srcId="{2A36167C-08A9-44BD-8255-139C8548884C}" destId="{FA449E30-9EF9-4ADD-8915-75F62C7F2324}" srcOrd="0" destOrd="0" presId="urn:microsoft.com/office/officeart/2008/layout/LinedList"/>
    <dgm:cxn modelId="{6A506186-BE7C-4C83-A8F8-98A430ACAD90}" srcId="{F3745FD7-2770-4914-92BE-76DF0E75A548}" destId="{9AD9F104-A24B-4C51-B8EA-9059725ECEE0}" srcOrd="2" destOrd="0" parTransId="{6256D718-A942-4CF3-B7E2-45971B2EF2C2}" sibTransId="{9960E545-551C-43C2-9156-02FE354750BA}"/>
    <dgm:cxn modelId="{FD90ABAE-361D-4FAC-B5D1-59FC8B94D0C1}" type="presOf" srcId="{9AD9F104-A24B-4C51-B8EA-9059725ECEE0}" destId="{479DD72A-6059-4342-B91F-DFE6858175E9}" srcOrd="0" destOrd="0" presId="urn:microsoft.com/office/officeart/2008/layout/LinedList"/>
    <dgm:cxn modelId="{B2B07924-5DC8-4615-B952-EA8AFEDE368A}" srcId="{F3745FD7-2770-4914-92BE-76DF0E75A548}" destId="{5124EEAF-D26F-4BA4-9815-A1CF6482AFBF}" srcOrd="1" destOrd="0" parTransId="{90EB2DBC-A9DC-4AD7-BBD3-124826D3339B}" sibTransId="{94A2F8EA-4837-4CEF-AF77-4D76ED40F2F3}"/>
    <dgm:cxn modelId="{031D9B18-B343-4038-BA66-FAACB85661C8}" type="presOf" srcId="{F3745FD7-2770-4914-92BE-76DF0E75A548}" destId="{920D51EA-2771-4E4C-B0BC-F665AA32EC1F}" srcOrd="0" destOrd="0" presId="urn:microsoft.com/office/officeart/2008/layout/LinedList"/>
    <dgm:cxn modelId="{3470CC0A-B0DB-4EDB-9F91-C78D291AA5D2}" type="presOf" srcId="{B9CF07AF-118B-425F-9919-29F5AF472BC9}" destId="{8F1567DF-0E48-48F5-A47A-EE0DB3907C6B}" srcOrd="0" destOrd="0" presId="urn:microsoft.com/office/officeart/2008/layout/LinedList"/>
    <dgm:cxn modelId="{4A6B4B7B-B15E-49A5-AC29-9C0E7343F026}" type="presOf" srcId="{17A148B2-85F0-47C2-B47E-D9DFB7CFAC02}" destId="{5240EE99-5F33-4E60-AA61-4C9D3329864B}" srcOrd="0" destOrd="0" presId="urn:microsoft.com/office/officeart/2008/layout/LinedList"/>
    <dgm:cxn modelId="{0F3FCD03-D711-48E9-B45C-73796AC33806}" srcId="{F3745FD7-2770-4914-92BE-76DF0E75A548}" destId="{17A148B2-85F0-47C2-B47E-D9DFB7CFAC02}" srcOrd="0" destOrd="0" parTransId="{EA396C2C-A904-42B2-8547-D4802CD07F58}" sibTransId="{24EDDBD8-E881-495E-889C-F74D059B92CB}"/>
    <dgm:cxn modelId="{E550C1FA-A2E0-45F7-AD51-29681AD3F57C}" srcId="{F3745FD7-2770-4914-92BE-76DF0E75A548}" destId="{B6851264-32C8-40B5-958F-BA777903C14C}" srcOrd="4" destOrd="0" parTransId="{FA0FDBA4-086D-4352-8AB2-53E4CC74F6FF}" sibTransId="{0E772C89-0B69-4350-A994-C762286C2D88}"/>
    <dgm:cxn modelId="{2BBB0CA6-62A4-4D1E-9798-5A22618AE9CB}" type="presOf" srcId="{B6851264-32C8-40B5-958F-BA777903C14C}" destId="{4BBD612B-4114-43D5-92FA-EA8D322FAF5E}" srcOrd="0" destOrd="0" presId="urn:microsoft.com/office/officeart/2008/layout/LinedList"/>
    <dgm:cxn modelId="{5E14225C-B50E-406D-9D38-86EA615F42B8}" type="presOf" srcId="{5124EEAF-D26F-4BA4-9815-A1CF6482AFBF}" destId="{F06421D4-2E7B-497E-A49C-DBA99393B609}" srcOrd="0" destOrd="0" presId="urn:microsoft.com/office/officeart/2008/layout/LinedList"/>
    <dgm:cxn modelId="{EA158F05-BA4E-4F00-ADCB-188B87E11E19}" type="presParOf" srcId="{920D51EA-2771-4E4C-B0BC-F665AA32EC1F}" destId="{7361100B-0E2A-4EAE-AC8C-208C9AC56F95}" srcOrd="0" destOrd="0" presId="urn:microsoft.com/office/officeart/2008/layout/LinedList"/>
    <dgm:cxn modelId="{193DFE93-63F0-4325-BFFF-5C335B1BE443}" type="presParOf" srcId="{920D51EA-2771-4E4C-B0BC-F665AA32EC1F}" destId="{0FA615FB-75B0-4492-97AF-0D517447416C}" srcOrd="1" destOrd="0" presId="urn:microsoft.com/office/officeart/2008/layout/LinedList"/>
    <dgm:cxn modelId="{188E4FA6-AE33-4328-B84C-053006D7E2FD}" type="presParOf" srcId="{0FA615FB-75B0-4492-97AF-0D517447416C}" destId="{5240EE99-5F33-4E60-AA61-4C9D3329864B}" srcOrd="0" destOrd="0" presId="urn:microsoft.com/office/officeart/2008/layout/LinedList"/>
    <dgm:cxn modelId="{2B8C7764-828D-4715-A32D-246B38009278}" type="presParOf" srcId="{0FA615FB-75B0-4492-97AF-0D517447416C}" destId="{538CC988-EBDA-4BCF-A313-DDED41F40761}" srcOrd="1" destOrd="0" presId="urn:microsoft.com/office/officeart/2008/layout/LinedList"/>
    <dgm:cxn modelId="{EEC13324-A534-4C0A-9DD0-2C0A406710EA}" type="presParOf" srcId="{920D51EA-2771-4E4C-B0BC-F665AA32EC1F}" destId="{21A8BA9F-B70D-4738-8E80-2DAA8442E898}" srcOrd="2" destOrd="0" presId="urn:microsoft.com/office/officeart/2008/layout/LinedList"/>
    <dgm:cxn modelId="{ABCE8AFA-A6E7-4C19-A4FF-8EA1193579BE}" type="presParOf" srcId="{920D51EA-2771-4E4C-B0BC-F665AA32EC1F}" destId="{C5DB3DC5-683A-416C-A611-FB60CE0F61D3}" srcOrd="3" destOrd="0" presId="urn:microsoft.com/office/officeart/2008/layout/LinedList"/>
    <dgm:cxn modelId="{EB6DDE11-5C3F-4A07-81C4-739AF6F31E42}" type="presParOf" srcId="{C5DB3DC5-683A-416C-A611-FB60CE0F61D3}" destId="{F06421D4-2E7B-497E-A49C-DBA99393B609}" srcOrd="0" destOrd="0" presId="urn:microsoft.com/office/officeart/2008/layout/LinedList"/>
    <dgm:cxn modelId="{6712632A-3AE3-466E-9F33-871BA35FF314}" type="presParOf" srcId="{C5DB3DC5-683A-416C-A611-FB60CE0F61D3}" destId="{A40A9362-FD4F-48BD-A57F-47EDFCA64413}" srcOrd="1" destOrd="0" presId="urn:microsoft.com/office/officeart/2008/layout/LinedList"/>
    <dgm:cxn modelId="{BF101B8C-7954-4DA0-89D2-9A991ADC0883}" type="presParOf" srcId="{920D51EA-2771-4E4C-B0BC-F665AA32EC1F}" destId="{C512CBDB-DC8D-4157-AE81-B87169F74FBD}" srcOrd="4" destOrd="0" presId="urn:microsoft.com/office/officeart/2008/layout/LinedList"/>
    <dgm:cxn modelId="{F34DD4FE-B82C-48D8-87A2-F6E92E44E886}" type="presParOf" srcId="{920D51EA-2771-4E4C-B0BC-F665AA32EC1F}" destId="{4D6A7D05-38AB-4890-AF93-BCD4BD3215CC}" srcOrd="5" destOrd="0" presId="urn:microsoft.com/office/officeart/2008/layout/LinedList"/>
    <dgm:cxn modelId="{0BFA5AC4-E009-4EA3-B902-8BB13EDFEB33}" type="presParOf" srcId="{4D6A7D05-38AB-4890-AF93-BCD4BD3215CC}" destId="{479DD72A-6059-4342-B91F-DFE6858175E9}" srcOrd="0" destOrd="0" presId="urn:microsoft.com/office/officeart/2008/layout/LinedList"/>
    <dgm:cxn modelId="{AE3D8C7A-6111-47A8-B354-F61DADCA3030}" type="presParOf" srcId="{4D6A7D05-38AB-4890-AF93-BCD4BD3215CC}" destId="{0B63CF48-70AD-466C-9DF4-2FC7D5EE120F}" srcOrd="1" destOrd="0" presId="urn:microsoft.com/office/officeart/2008/layout/LinedList"/>
    <dgm:cxn modelId="{5CB51E74-24B7-43E2-AF3D-FBE887BE2F74}" type="presParOf" srcId="{920D51EA-2771-4E4C-B0BC-F665AA32EC1F}" destId="{00B6D4CA-07B1-40CC-AC4A-64D708930AED}" srcOrd="6" destOrd="0" presId="urn:microsoft.com/office/officeart/2008/layout/LinedList"/>
    <dgm:cxn modelId="{26C4518D-5280-4639-A0B5-227CC1B7CD4E}" type="presParOf" srcId="{920D51EA-2771-4E4C-B0BC-F665AA32EC1F}" destId="{156BB53E-4240-4C52-B4B9-7A1DB0054FFA}" srcOrd="7" destOrd="0" presId="urn:microsoft.com/office/officeart/2008/layout/LinedList"/>
    <dgm:cxn modelId="{DC0435B2-577E-4BD7-AC4C-4909D23B1A84}" type="presParOf" srcId="{156BB53E-4240-4C52-B4B9-7A1DB0054FFA}" destId="{8F1567DF-0E48-48F5-A47A-EE0DB3907C6B}" srcOrd="0" destOrd="0" presId="urn:microsoft.com/office/officeart/2008/layout/LinedList"/>
    <dgm:cxn modelId="{FB287756-DF77-4ABA-9656-C4BB3B3E4AB9}" type="presParOf" srcId="{156BB53E-4240-4C52-B4B9-7A1DB0054FFA}" destId="{7407B4EC-EECA-4A70-98F7-1BFD9A8C7DD4}" srcOrd="1" destOrd="0" presId="urn:microsoft.com/office/officeart/2008/layout/LinedList"/>
    <dgm:cxn modelId="{03F7F81B-0AED-41C7-A8C4-F63E22345F11}" type="presParOf" srcId="{920D51EA-2771-4E4C-B0BC-F665AA32EC1F}" destId="{08BE4898-AB26-4F5F-A778-12EE0A59632E}" srcOrd="8" destOrd="0" presId="urn:microsoft.com/office/officeart/2008/layout/LinedList"/>
    <dgm:cxn modelId="{57D7E697-B78D-40DD-A3CE-2A207792636B}" type="presParOf" srcId="{920D51EA-2771-4E4C-B0BC-F665AA32EC1F}" destId="{7D8ADD02-1DAB-47B3-8DB6-F847ADC64E98}" srcOrd="9" destOrd="0" presId="urn:microsoft.com/office/officeart/2008/layout/LinedList"/>
    <dgm:cxn modelId="{F07C87F1-989A-4B90-B124-CD5A58A15D36}" type="presParOf" srcId="{7D8ADD02-1DAB-47B3-8DB6-F847ADC64E98}" destId="{4BBD612B-4114-43D5-92FA-EA8D322FAF5E}" srcOrd="0" destOrd="0" presId="urn:microsoft.com/office/officeart/2008/layout/LinedList"/>
    <dgm:cxn modelId="{5122F4A6-0BB0-4DD6-A92D-D4F11E85CB4B}" type="presParOf" srcId="{7D8ADD02-1DAB-47B3-8DB6-F847ADC64E98}" destId="{9B74C21A-D196-47D6-BB07-8AFA0B79860C}" srcOrd="1" destOrd="0" presId="urn:microsoft.com/office/officeart/2008/layout/LinedList"/>
    <dgm:cxn modelId="{B2C9E044-AF7A-457C-94F0-2753398880DF}" type="presParOf" srcId="{920D51EA-2771-4E4C-B0BC-F665AA32EC1F}" destId="{AB310D8D-A270-41F9-B6F5-300927A57930}" srcOrd="10" destOrd="0" presId="urn:microsoft.com/office/officeart/2008/layout/LinedList"/>
    <dgm:cxn modelId="{B4DF16E4-5FBA-442C-8751-8DFFD0EDB5A1}" type="presParOf" srcId="{920D51EA-2771-4E4C-B0BC-F665AA32EC1F}" destId="{C262DD07-7006-4D4A-AB65-EA9AD08ECBEC}" srcOrd="11" destOrd="0" presId="urn:microsoft.com/office/officeart/2008/layout/LinedList"/>
    <dgm:cxn modelId="{F14A23F3-A436-4E05-BAFD-36C613B0B92E}" type="presParOf" srcId="{C262DD07-7006-4D4A-AB65-EA9AD08ECBEC}" destId="{FA449E30-9EF9-4ADD-8915-75F62C7F2324}" srcOrd="0" destOrd="0" presId="urn:microsoft.com/office/officeart/2008/layout/LinedList"/>
    <dgm:cxn modelId="{4031710D-9E2F-44A4-8BD6-5D7CCFBBA34B}" type="presParOf" srcId="{C262DD07-7006-4D4A-AB65-EA9AD08ECBEC}" destId="{D0B7165D-BC91-4ABB-8289-B07689CF1445}"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FBC9C68-CB1A-4DDB-9EBD-93CEB49148BB}"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8AB44C76-FF1F-4743-AADC-0312630D6CC3}">
      <dgm:prSet phldrT="[Text]" custT="1"/>
      <dgm:spPr/>
      <dgm:t>
        <a:bodyPr/>
        <a:lstStyle/>
        <a:p>
          <a:r>
            <a:rPr lang="en-US" sz="1800" dirty="0">
              <a:solidFill>
                <a:schemeClr val="tx2"/>
              </a:solidFill>
            </a:rPr>
            <a:t>Historically, medical schools have selected students who are high achievers, excel at exams, and are assertive and competitive.</a:t>
          </a:r>
        </a:p>
      </dgm:t>
    </dgm:pt>
    <dgm:pt modelId="{5A27C814-EC52-42B5-861E-1F3AFB74B280}" type="parTrans" cxnId="{DD62E895-7910-429A-80A9-3A6496362F44}">
      <dgm:prSet/>
      <dgm:spPr/>
      <dgm:t>
        <a:bodyPr/>
        <a:lstStyle/>
        <a:p>
          <a:endParaRPr lang="en-US" sz="1800">
            <a:solidFill>
              <a:schemeClr val="tx2"/>
            </a:solidFill>
          </a:endParaRPr>
        </a:p>
      </dgm:t>
    </dgm:pt>
    <dgm:pt modelId="{6912AA08-77B7-4B4E-A4C9-749BABF3A401}" type="sibTrans" cxnId="{DD62E895-7910-429A-80A9-3A6496362F44}">
      <dgm:prSet/>
      <dgm:spPr/>
      <dgm:t>
        <a:bodyPr/>
        <a:lstStyle/>
        <a:p>
          <a:endParaRPr lang="en-US" sz="1800">
            <a:solidFill>
              <a:schemeClr val="tx2"/>
            </a:solidFill>
          </a:endParaRPr>
        </a:p>
      </dgm:t>
    </dgm:pt>
    <dgm:pt modelId="{80F92785-E044-4BAA-BA48-9F4B4393FEDD}">
      <dgm:prSet custT="1"/>
      <dgm:spPr/>
      <dgm:t>
        <a:bodyPr/>
        <a:lstStyle/>
        <a:p>
          <a:r>
            <a:rPr lang="en-US" sz="1800" dirty="0">
              <a:solidFill>
                <a:schemeClr val="tx2"/>
              </a:solidFill>
            </a:rPr>
            <a:t>Residency and fellowship training is rigorous, with long hours spent on learning the hard skills necessary to achieve technical excellence and medical decision-making. </a:t>
          </a:r>
        </a:p>
      </dgm:t>
    </dgm:pt>
    <dgm:pt modelId="{CAAEDEC2-846C-4B76-875D-F08DDA176B0F}" type="parTrans" cxnId="{8304255D-E30A-4711-A278-1C22FECE820B}">
      <dgm:prSet/>
      <dgm:spPr/>
      <dgm:t>
        <a:bodyPr/>
        <a:lstStyle/>
        <a:p>
          <a:endParaRPr lang="en-US" sz="1800">
            <a:solidFill>
              <a:schemeClr val="tx2"/>
            </a:solidFill>
          </a:endParaRPr>
        </a:p>
      </dgm:t>
    </dgm:pt>
    <dgm:pt modelId="{C590AA4B-CD5A-4038-B4AC-60FC23F2DAC3}" type="sibTrans" cxnId="{8304255D-E30A-4711-A278-1C22FECE820B}">
      <dgm:prSet/>
      <dgm:spPr/>
      <dgm:t>
        <a:bodyPr/>
        <a:lstStyle/>
        <a:p>
          <a:endParaRPr lang="en-US" sz="1800">
            <a:solidFill>
              <a:schemeClr val="tx2"/>
            </a:solidFill>
          </a:endParaRPr>
        </a:p>
      </dgm:t>
    </dgm:pt>
    <dgm:pt modelId="{C6A1AA09-709A-4BAA-81A2-2F262915AE4C}">
      <dgm:prSet custT="1"/>
      <dgm:spPr/>
      <dgm:t>
        <a:bodyPr/>
        <a:lstStyle/>
        <a:p>
          <a:r>
            <a:rPr lang="en-US" sz="1800" dirty="0">
              <a:solidFill>
                <a:schemeClr val="tx2"/>
              </a:solidFill>
            </a:rPr>
            <a:t>Over the past decade, these processes have evolved.</a:t>
          </a:r>
        </a:p>
      </dgm:t>
    </dgm:pt>
    <dgm:pt modelId="{02181248-55D1-40B1-B3EA-ECF462379401}" type="parTrans" cxnId="{39B13B54-72FA-4E1F-A4B0-B0A2688F4659}">
      <dgm:prSet/>
      <dgm:spPr/>
      <dgm:t>
        <a:bodyPr/>
        <a:lstStyle/>
        <a:p>
          <a:endParaRPr lang="en-US" sz="1800">
            <a:solidFill>
              <a:schemeClr val="tx2"/>
            </a:solidFill>
          </a:endParaRPr>
        </a:p>
      </dgm:t>
    </dgm:pt>
    <dgm:pt modelId="{AD6BDF80-1B34-4F02-82D2-A9FACB4E761E}" type="sibTrans" cxnId="{39B13B54-72FA-4E1F-A4B0-B0A2688F4659}">
      <dgm:prSet/>
      <dgm:spPr/>
      <dgm:t>
        <a:bodyPr/>
        <a:lstStyle/>
        <a:p>
          <a:endParaRPr lang="en-US" sz="1800">
            <a:solidFill>
              <a:schemeClr val="tx2"/>
            </a:solidFill>
          </a:endParaRPr>
        </a:p>
      </dgm:t>
    </dgm:pt>
    <dgm:pt modelId="{F220D6C6-5C60-4FE3-8348-C9D00EAE9A12}">
      <dgm:prSet custT="1"/>
      <dgm:spPr/>
      <dgm:t>
        <a:bodyPr/>
        <a:lstStyle/>
        <a:p>
          <a:r>
            <a:rPr lang="en-US" sz="1800" dirty="0">
              <a:solidFill>
                <a:schemeClr val="tx2"/>
              </a:solidFill>
            </a:rPr>
            <a:t>The Medical College Admission Test</a:t>
          </a:r>
          <a:r>
            <a:rPr lang="en-US" sz="1800" baseline="30000" dirty="0">
              <a:solidFill>
                <a:schemeClr val="tx2"/>
              </a:solidFill>
            </a:rPr>
            <a:t>®</a:t>
          </a:r>
          <a:r>
            <a:rPr lang="en-US" sz="1800" dirty="0">
              <a:solidFill>
                <a:schemeClr val="tx2"/>
              </a:solidFill>
            </a:rPr>
            <a:t> was updated in 2015 to include questions related to psychology, sociology, and reasoning.</a:t>
          </a:r>
        </a:p>
      </dgm:t>
    </dgm:pt>
    <dgm:pt modelId="{A2EF5A74-BFA2-447B-951C-F65557F0480E}" type="parTrans" cxnId="{0C58A628-94AA-4650-8A36-6AFAF7DC1DBA}">
      <dgm:prSet/>
      <dgm:spPr/>
      <dgm:t>
        <a:bodyPr/>
        <a:lstStyle/>
        <a:p>
          <a:endParaRPr lang="en-US" sz="1800">
            <a:solidFill>
              <a:schemeClr val="tx2"/>
            </a:solidFill>
          </a:endParaRPr>
        </a:p>
      </dgm:t>
    </dgm:pt>
    <dgm:pt modelId="{6BC2F7DC-5C99-46E7-9B8B-4315C080BF0A}" type="sibTrans" cxnId="{0C58A628-94AA-4650-8A36-6AFAF7DC1DBA}">
      <dgm:prSet/>
      <dgm:spPr/>
      <dgm:t>
        <a:bodyPr/>
        <a:lstStyle/>
        <a:p>
          <a:endParaRPr lang="en-US" sz="1800">
            <a:solidFill>
              <a:schemeClr val="tx2"/>
            </a:solidFill>
          </a:endParaRPr>
        </a:p>
      </dgm:t>
    </dgm:pt>
    <dgm:pt modelId="{259E5407-C22D-4D09-B123-6E3A19EC3507}">
      <dgm:prSet custT="1"/>
      <dgm:spPr/>
      <dgm:t>
        <a:bodyPr/>
        <a:lstStyle/>
        <a:p>
          <a:r>
            <a:rPr lang="en-US" sz="1800" dirty="0">
              <a:solidFill>
                <a:schemeClr val="tx2"/>
              </a:solidFill>
            </a:rPr>
            <a:t>The Accreditation Council for Graduate Medical Education has incorporated interpersonal skills, communication, and professionalism into its six core competencies and supporting specialty-specific milestones.</a:t>
          </a:r>
        </a:p>
      </dgm:t>
    </dgm:pt>
    <dgm:pt modelId="{7EA33BB0-B290-4B90-B3F9-7966C3B467B7}" type="parTrans" cxnId="{D9A5FEB2-D86C-41B9-B233-E7496F9C7300}">
      <dgm:prSet/>
      <dgm:spPr/>
      <dgm:t>
        <a:bodyPr/>
        <a:lstStyle/>
        <a:p>
          <a:endParaRPr lang="en-US" sz="1800">
            <a:solidFill>
              <a:schemeClr val="tx2"/>
            </a:solidFill>
          </a:endParaRPr>
        </a:p>
      </dgm:t>
    </dgm:pt>
    <dgm:pt modelId="{FA2B16B7-86AA-42D2-8485-C1C3CCECDCD3}" type="sibTrans" cxnId="{D9A5FEB2-D86C-41B9-B233-E7496F9C7300}">
      <dgm:prSet/>
      <dgm:spPr/>
      <dgm:t>
        <a:bodyPr/>
        <a:lstStyle/>
        <a:p>
          <a:endParaRPr lang="en-US" sz="1800">
            <a:solidFill>
              <a:schemeClr val="tx2"/>
            </a:solidFill>
          </a:endParaRPr>
        </a:p>
      </dgm:t>
    </dgm:pt>
    <dgm:pt modelId="{EF94A1D2-365C-4FA4-BA8E-0B978112CFB1}">
      <dgm:prSet custT="1"/>
      <dgm:spPr/>
      <dgm:t>
        <a:bodyPr/>
        <a:lstStyle/>
        <a:p>
          <a:r>
            <a:rPr lang="en-US" sz="1800" dirty="0">
              <a:solidFill>
                <a:schemeClr val="tx2"/>
              </a:solidFill>
            </a:rPr>
            <a:t>These criteria are now a requirement for completing residency training and obtaining medical licensure. </a:t>
          </a:r>
        </a:p>
      </dgm:t>
    </dgm:pt>
    <dgm:pt modelId="{093B76D8-EED9-4B14-B290-2B84D4B79C72}" type="parTrans" cxnId="{B1CE8D86-55E5-4AF4-9BE8-BCCAFB76FAAD}">
      <dgm:prSet/>
      <dgm:spPr/>
      <dgm:t>
        <a:bodyPr/>
        <a:lstStyle/>
        <a:p>
          <a:endParaRPr lang="en-US" sz="1800">
            <a:solidFill>
              <a:schemeClr val="tx2"/>
            </a:solidFill>
          </a:endParaRPr>
        </a:p>
      </dgm:t>
    </dgm:pt>
    <dgm:pt modelId="{58BA0BC2-42BE-4E68-8EAB-F72FDFC526AC}" type="sibTrans" cxnId="{B1CE8D86-55E5-4AF4-9BE8-BCCAFB76FAAD}">
      <dgm:prSet/>
      <dgm:spPr/>
      <dgm:t>
        <a:bodyPr/>
        <a:lstStyle/>
        <a:p>
          <a:endParaRPr lang="en-US" sz="1800">
            <a:solidFill>
              <a:schemeClr val="tx2"/>
            </a:solidFill>
          </a:endParaRPr>
        </a:p>
      </dgm:t>
    </dgm:pt>
    <dgm:pt modelId="{0E08CDDD-D799-46AE-8DA8-B9D84A6C9ECA}" type="pres">
      <dgm:prSet presAssocID="{7FBC9C68-CB1A-4DDB-9EBD-93CEB49148BB}" presName="vert0" presStyleCnt="0">
        <dgm:presLayoutVars>
          <dgm:dir/>
          <dgm:animOne val="branch"/>
          <dgm:animLvl val="lvl"/>
        </dgm:presLayoutVars>
      </dgm:prSet>
      <dgm:spPr/>
      <dgm:t>
        <a:bodyPr/>
        <a:lstStyle/>
        <a:p>
          <a:endParaRPr lang="en-US"/>
        </a:p>
      </dgm:t>
    </dgm:pt>
    <dgm:pt modelId="{34CE72A2-ACF5-47AD-8DD8-9BF0B9A50A5E}" type="pres">
      <dgm:prSet presAssocID="{8AB44C76-FF1F-4743-AADC-0312630D6CC3}" presName="thickLine" presStyleLbl="alignNode1" presStyleIdx="0" presStyleCnt="6"/>
      <dgm:spPr/>
    </dgm:pt>
    <dgm:pt modelId="{51974026-67B3-4E1E-B90E-0645E98AD48B}" type="pres">
      <dgm:prSet presAssocID="{8AB44C76-FF1F-4743-AADC-0312630D6CC3}" presName="horz1" presStyleCnt="0"/>
      <dgm:spPr/>
    </dgm:pt>
    <dgm:pt modelId="{9C859AB2-4123-48DC-812E-2E1D71097EDB}" type="pres">
      <dgm:prSet presAssocID="{8AB44C76-FF1F-4743-AADC-0312630D6CC3}" presName="tx1" presStyleLbl="revTx" presStyleIdx="0" presStyleCnt="6" custScaleY="95725"/>
      <dgm:spPr/>
      <dgm:t>
        <a:bodyPr/>
        <a:lstStyle/>
        <a:p>
          <a:endParaRPr lang="en-US"/>
        </a:p>
      </dgm:t>
    </dgm:pt>
    <dgm:pt modelId="{D13FC93C-9C23-45C3-81B9-A900E3C1E540}" type="pres">
      <dgm:prSet presAssocID="{8AB44C76-FF1F-4743-AADC-0312630D6CC3}" presName="vert1" presStyleCnt="0"/>
      <dgm:spPr/>
    </dgm:pt>
    <dgm:pt modelId="{AE6606AF-DB9C-4FA3-8CE3-37A21E6B0368}" type="pres">
      <dgm:prSet presAssocID="{80F92785-E044-4BAA-BA48-9F4B4393FEDD}" presName="thickLine" presStyleLbl="alignNode1" presStyleIdx="1" presStyleCnt="6"/>
      <dgm:spPr/>
    </dgm:pt>
    <dgm:pt modelId="{6A23144D-680F-4287-9B47-B5F9A4EFD896}" type="pres">
      <dgm:prSet presAssocID="{80F92785-E044-4BAA-BA48-9F4B4393FEDD}" presName="horz1" presStyleCnt="0"/>
      <dgm:spPr/>
    </dgm:pt>
    <dgm:pt modelId="{1E7ED9AE-FBF2-4EBE-958B-E8C5EDB93290}" type="pres">
      <dgm:prSet presAssocID="{80F92785-E044-4BAA-BA48-9F4B4393FEDD}" presName="tx1" presStyleLbl="revTx" presStyleIdx="1" presStyleCnt="6" custScaleY="119499"/>
      <dgm:spPr/>
      <dgm:t>
        <a:bodyPr/>
        <a:lstStyle/>
        <a:p>
          <a:endParaRPr lang="en-US"/>
        </a:p>
      </dgm:t>
    </dgm:pt>
    <dgm:pt modelId="{35608202-EB19-4377-98A9-B1CD05E4D6B1}" type="pres">
      <dgm:prSet presAssocID="{80F92785-E044-4BAA-BA48-9F4B4393FEDD}" presName="vert1" presStyleCnt="0"/>
      <dgm:spPr/>
    </dgm:pt>
    <dgm:pt modelId="{28F6C550-6E11-4FE0-A119-A815CBDE8DF9}" type="pres">
      <dgm:prSet presAssocID="{C6A1AA09-709A-4BAA-81A2-2F262915AE4C}" presName="thickLine" presStyleLbl="alignNode1" presStyleIdx="2" presStyleCnt="6"/>
      <dgm:spPr/>
    </dgm:pt>
    <dgm:pt modelId="{B58CFC8F-3874-4775-AA67-0BD03CE43E3E}" type="pres">
      <dgm:prSet presAssocID="{C6A1AA09-709A-4BAA-81A2-2F262915AE4C}" presName="horz1" presStyleCnt="0"/>
      <dgm:spPr/>
    </dgm:pt>
    <dgm:pt modelId="{603A4257-8900-41C1-B1F3-3E7053726FAE}" type="pres">
      <dgm:prSet presAssocID="{C6A1AA09-709A-4BAA-81A2-2F262915AE4C}" presName="tx1" presStyleLbl="revTx" presStyleIdx="2" presStyleCnt="6" custScaleY="64093"/>
      <dgm:spPr/>
      <dgm:t>
        <a:bodyPr/>
        <a:lstStyle/>
        <a:p>
          <a:endParaRPr lang="en-US"/>
        </a:p>
      </dgm:t>
    </dgm:pt>
    <dgm:pt modelId="{12414B36-01E5-4F48-A8D1-DF44E1A6758A}" type="pres">
      <dgm:prSet presAssocID="{C6A1AA09-709A-4BAA-81A2-2F262915AE4C}" presName="vert1" presStyleCnt="0"/>
      <dgm:spPr/>
    </dgm:pt>
    <dgm:pt modelId="{293DB607-DC94-4320-ABE3-4A58FE006814}" type="pres">
      <dgm:prSet presAssocID="{F220D6C6-5C60-4FE3-8348-C9D00EAE9A12}" presName="thickLine" presStyleLbl="alignNode1" presStyleIdx="3" presStyleCnt="6"/>
      <dgm:spPr/>
    </dgm:pt>
    <dgm:pt modelId="{86045EF4-7BAA-494F-B3F1-1F4D0633A660}" type="pres">
      <dgm:prSet presAssocID="{F220D6C6-5C60-4FE3-8348-C9D00EAE9A12}" presName="horz1" presStyleCnt="0"/>
      <dgm:spPr/>
    </dgm:pt>
    <dgm:pt modelId="{BE124FF5-579D-4DA2-BFC7-060C592983AA}" type="pres">
      <dgm:prSet presAssocID="{F220D6C6-5C60-4FE3-8348-C9D00EAE9A12}" presName="tx1" presStyleLbl="revTx" presStyleIdx="3" presStyleCnt="6" custScaleY="92447"/>
      <dgm:spPr/>
      <dgm:t>
        <a:bodyPr/>
        <a:lstStyle/>
        <a:p>
          <a:endParaRPr lang="en-US"/>
        </a:p>
      </dgm:t>
    </dgm:pt>
    <dgm:pt modelId="{A5688B38-CD16-456E-BF9C-DD0F3ED33C9E}" type="pres">
      <dgm:prSet presAssocID="{F220D6C6-5C60-4FE3-8348-C9D00EAE9A12}" presName="vert1" presStyleCnt="0"/>
      <dgm:spPr/>
    </dgm:pt>
    <dgm:pt modelId="{7BBB4FAB-7818-4FC5-918D-D9EEE05AC3CA}" type="pres">
      <dgm:prSet presAssocID="{259E5407-C22D-4D09-B123-6E3A19EC3507}" presName="thickLine" presStyleLbl="alignNode1" presStyleIdx="4" presStyleCnt="6"/>
      <dgm:spPr/>
    </dgm:pt>
    <dgm:pt modelId="{516FC424-3380-4261-A5AD-63B933B99109}" type="pres">
      <dgm:prSet presAssocID="{259E5407-C22D-4D09-B123-6E3A19EC3507}" presName="horz1" presStyleCnt="0"/>
      <dgm:spPr/>
    </dgm:pt>
    <dgm:pt modelId="{DA7F14D9-4CFB-45DB-9DF3-36C6267CD51E}" type="pres">
      <dgm:prSet presAssocID="{259E5407-C22D-4D09-B123-6E3A19EC3507}" presName="tx1" presStyleLbl="revTx" presStyleIdx="4" presStyleCnt="6" custScaleY="136874"/>
      <dgm:spPr/>
      <dgm:t>
        <a:bodyPr/>
        <a:lstStyle/>
        <a:p>
          <a:endParaRPr lang="en-US"/>
        </a:p>
      </dgm:t>
    </dgm:pt>
    <dgm:pt modelId="{D4F53178-F038-4B7E-8D74-94104B638FF6}" type="pres">
      <dgm:prSet presAssocID="{259E5407-C22D-4D09-B123-6E3A19EC3507}" presName="vert1" presStyleCnt="0"/>
      <dgm:spPr/>
    </dgm:pt>
    <dgm:pt modelId="{13AE7B4D-134C-433F-A593-B05916180FD6}" type="pres">
      <dgm:prSet presAssocID="{EF94A1D2-365C-4FA4-BA8E-0B978112CFB1}" presName="thickLine" presStyleLbl="alignNode1" presStyleIdx="5" presStyleCnt="6"/>
      <dgm:spPr/>
    </dgm:pt>
    <dgm:pt modelId="{12C92965-92C6-4B36-9E64-380A1FAD21F8}" type="pres">
      <dgm:prSet presAssocID="{EF94A1D2-365C-4FA4-BA8E-0B978112CFB1}" presName="horz1" presStyleCnt="0"/>
      <dgm:spPr/>
    </dgm:pt>
    <dgm:pt modelId="{C413FD6A-6C86-4523-BC57-5AF88DC499AE}" type="pres">
      <dgm:prSet presAssocID="{EF94A1D2-365C-4FA4-BA8E-0B978112CFB1}" presName="tx1" presStyleLbl="revTx" presStyleIdx="5" presStyleCnt="6" custScaleY="86944"/>
      <dgm:spPr/>
      <dgm:t>
        <a:bodyPr/>
        <a:lstStyle/>
        <a:p>
          <a:endParaRPr lang="en-US"/>
        </a:p>
      </dgm:t>
    </dgm:pt>
    <dgm:pt modelId="{DA05DB1A-EFEC-4EC7-920D-D04B7AB2487C}" type="pres">
      <dgm:prSet presAssocID="{EF94A1D2-365C-4FA4-BA8E-0B978112CFB1}" presName="vert1" presStyleCnt="0"/>
      <dgm:spPr/>
    </dgm:pt>
  </dgm:ptLst>
  <dgm:cxnLst>
    <dgm:cxn modelId="{39B13B54-72FA-4E1F-A4B0-B0A2688F4659}" srcId="{7FBC9C68-CB1A-4DDB-9EBD-93CEB49148BB}" destId="{C6A1AA09-709A-4BAA-81A2-2F262915AE4C}" srcOrd="2" destOrd="0" parTransId="{02181248-55D1-40B1-B3EA-ECF462379401}" sibTransId="{AD6BDF80-1B34-4F02-82D2-A9FACB4E761E}"/>
    <dgm:cxn modelId="{AEDB8F77-F433-4306-9146-46F5E5AAE61E}" type="presOf" srcId="{259E5407-C22D-4D09-B123-6E3A19EC3507}" destId="{DA7F14D9-4CFB-45DB-9DF3-36C6267CD51E}" srcOrd="0" destOrd="0" presId="urn:microsoft.com/office/officeart/2008/layout/LinedList"/>
    <dgm:cxn modelId="{2AA85765-C36C-42E2-BF4C-1DA28B43DAC4}" type="presOf" srcId="{EF94A1D2-365C-4FA4-BA8E-0B978112CFB1}" destId="{C413FD6A-6C86-4523-BC57-5AF88DC499AE}" srcOrd="0" destOrd="0" presId="urn:microsoft.com/office/officeart/2008/layout/LinedList"/>
    <dgm:cxn modelId="{0C58A628-94AA-4650-8A36-6AFAF7DC1DBA}" srcId="{7FBC9C68-CB1A-4DDB-9EBD-93CEB49148BB}" destId="{F220D6C6-5C60-4FE3-8348-C9D00EAE9A12}" srcOrd="3" destOrd="0" parTransId="{A2EF5A74-BFA2-447B-951C-F65557F0480E}" sibTransId="{6BC2F7DC-5C99-46E7-9B8B-4315C080BF0A}"/>
    <dgm:cxn modelId="{D9A5FEB2-D86C-41B9-B233-E7496F9C7300}" srcId="{7FBC9C68-CB1A-4DDB-9EBD-93CEB49148BB}" destId="{259E5407-C22D-4D09-B123-6E3A19EC3507}" srcOrd="4" destOrd="0" parTransId="{7EA33BB0-B290-4B90-B3F9-7966C3B467B7}" sibTransId="{FA2B16B7-86AA-42D2-8485-C1C3CCECDCD3}"/>
    <dgm:cxn modelId="{44269A1A-7E89-43AC-AA72-359F20F7F502}" type="presOf" srcId="{80F92785-E044-4BAA-BA48-9F4B4393FEDD}" destId="{1E7ED9AE-FBF2-4EBE-958B-E8C5EDB93290}" srcOrd="0" destOrd="0" presId="urn:microsoft.com/office/officeart/2008/layout/LinedList"/>
    <dgm:cxn modelId="{AC46C428-19D0-4CCC-9267-8F2EDED8CEE4}" type="presOf" srcId="{C6A1AA09-709A-4BAA-81A2-2F262915AE4C}" destId="{603A4257-8900-41C1-B1F3-3E7053726FAE}" srcOrd="0" destOrd="0" presId="urn:microsoft.com/office/officeart/2008/layout/LinedList"/>
    <dgm:cxn modelId="{40785302-2AB3-4B73-AF07-F49FF1883C21}" type="presOf" srcId="{7FBC9C68-CB1A-4DDB-9EBD-93CEB49148BB}" destId="{0E08CDDD-D799-46AE-8DA8-B9D84A6C9ECA}" srcOrd="0" destOrd="0" presId="urn:microsoft.com/office/officeart/2008/layout/LinedList"/>
    <dgm:cxn modelId="{8304255D-E30A-4711-A278-1C22FECE820B}" srcId="{7FBC9C68-CB1A-4DDB-9EBD-93CEB49148BB}" destId="{80F92785-E044-4BAA-BA48-9F4B4393FEDD}" srcOrd="1" destOrd="0" parTransId="{CAAEDEC2-846C-4B76-875D-F08DDA176B0F}" sibTransId="{C590AA4B-CD5A-4038-B4AC-60FC23F2DAC3}"/>
    <dgm:cxn modelId="{DD62E895-7910-429A-80A9-3A6496362F44}" srcId="{7FBC9C68-CB1A-4DDB-9EBD-93CEB49148BB}" destId="{8AB44C76-FF1F-4743-AADC-0312630D6CC3}" srcOrd="0" destOrd="0" parTransId="{5A27C814-EC52-42B5-861E-1F3AFB74B280}" sibTransId="{6912AA08-77B7-4B4E-A4C9-749BABF3A401}"/>
    <dgm:cxn modelId="{9A9352EE-8D21-47AF-883E-3C18D76A30DB}" type="presOf" srcId="{F220D6C6-5C60-4FE3-8348-C9D00EAE9A12}" destId="{BE124FF5-579D-4DA2-BFC7-060C592983AA}" srcOrd="0" destOrd="0" presId="urn:microsoft.com/office/officeart/2008/layout/LinedList"/>
    <dgm:cxn modelId="{B1CE8D86-55E5-4AF4-9BE8-BCCAFB76FAAD}" srcId="{7FBC9C68-CB1A-4DDB-9EBD-93CEB49148BB}" destId="{EF94A1D2-365C-4FA4-BA8E-0B978112CFB1}" srcOrd="5" destOrd="0" parTransId="{093B76D8-EED9-4B14-B290-2B84D4B79C72}" sibTransId="{58BA0BC2-42BE-4E68-8EAB-F72FDFC526AC}"/>
    <dgm:cxn modelId="{59A3E2F7-2CEF-47B3-9058-13502E3946E7}" type="presOf" srcId="{8AB44C76-FF1F-4743-AADC-0312630D6CC3}" destId="{9C859AB2-4123-48DC-812E-2E1D71097EDB}" srcOrd="0" destOrd="0" presId="urn:microsoft.com/office/officeart/2008/layout/LinedList"/>
    <dgm:cxn modelId="{83C4D37A-6456-410A-88EB-E58F553E5CCA}" type="presParOf" srcId="{0E08CDDD-D799-46AE-8DA8-B9D84A6C9ECA}" destId="{34CE72A2-ACF5-47AD-8DD8-9BF0B9A50A5E}" srcOrd="0" destOrd="0" presId="urn:microsoft.com/office/officeart/2008/layout/LinedList"/>
    <dgm:cxn modelId="{BDDD7393-2E21-498D-92BE-37CD6B5589DE}" type="presParOf" srcId="{0E08CDDD-D799-46AE-8DA8-B9D84A6C9ECA}" destId="{51974026-67B3-4E1E-B90E-0645E98AD48B}" srcOrd="1" destOrd="0" presId="urn:microsoft.com/office/officeart/2008/layout/LinedList"/>
    <dgm:cxn modelId="{61A2A154-7CD7-4133-8D22-DFEEFE64B085}" type="presParOf" srcId="{51974026-67B3-4E1E-B90E-0645E98AD48B}" destId="{9C859AB2-4123-48DC-812E-2E1D71097EDB}" srcOrd="0" destOrd="0" presId="urn:microsoft.com/office/officeart/2008/layout/LinedList"/>
    <dgm:cxn modelId="{7D2DC585-95EF-4370-AECA-D0AC8B5BCFF6}" type="presParOf" srcId="{51974026-67B3-4E1E-B90E-0645E98AD48B}" destId="{D13FC93C-9C23-45C3-81B9-A900E3C1E540}" srcOrd="1" destOrd="0" presId="urn:microsoft.com/office/officeart/2008/layout/LinedList"/>
    <dgm:cxn modelId="{E603394B-BD54-4DBB-A619-06BCFA203BF3}" type="presParOf" srcId="{0E08CDDD-D799-46AE-8DA8-B9D84A6C9ECA}" destId="{AE6606AF-DB9C-4FA3-8CE3-37A21E6B0368}" srcOrd="2" destOrd="0" presId="urn:microsoft.com/office/officeart/2008/layout/LinedList"/>
    <dgm:cxn modelId="{DC58DEFF-EB8F-455D-8D9F-0543991DBE4D}" type="presParOf" srcId="{0E08CDDD-D799-46AE-8DA8-B9D84A6C9ECA}" destId="{6A23144D-680F-4287-9B47-B5F9A4EFD896}" srcOrd="3" destOrd="0" presId="urn:microsoft.com/office/officeart/2008/layout/LinedList"/>
    <dgm:cxn modelId="{50008574-C958-4017-9257-47555F457B9E}" type="presParOf" srcId="{6A23144D-680F-4287-9B47-B5F9A4EFD896}" destId="{1E7ED9AE-FBF2-4EBE-958B-E8C5EDB93290}" srcOrd="0" destOrd="0" presId="urn:microsoft.com/office/officeart/2008/layout/LinedList"/>
    <dgm:cxn modelId="{FFB6582F-F360-44BD-9B99-0708A24B16D9}" type="presParOf" srcId="{6A23144D-680F-4287-9B47-B5F9A4EFD896}" destId="{35608202-EB19-4377-98A9-B1CD05E4D6B1}" srcOrd="1" destOrd="0" presId="urn:microsoft.com/office/officeart/2008/layout/LinedList"/>
    <dgm:cxn modelId="{47BE775E-1628-4EB1-9861-98A442F9FDE4}" type="presParOf" srcId="{0E08CDDD-D799-46AE-8DA8-B9D84A6C9ECA}" destId="{28F6C550-6E11-4FE0-A119-A815CBDE8DF9}" srcOrd="4" destOrd="0" presId="urn:microsoft.com/office/officeart/2008/layout/LinedList"/>
    <dgm:cxn modelId="{022BAA29-FF3C-44ED-9EE2-58F1F9DCA305}" type="presParOf" srcId="{0E08CDDD-D799-46AE-8DA8-B9D84A6C9ECA}" destId="{B58CFC8F-3874-4775-AA67-0BD03CE43E3E}" srcOrd="5" destOrd="0" presId="urn:microsoft.com/office/officeart/2008/layout/LinedList"/>
    <dgm:cxn modelId="{6F1E12E7-A969-4390-B486-3F906AC2B490}" type="presParOf" srcId="{B58CFC8F-3874-4775-AA67-0BD03CE43E3E}" destId="{603A4257-8900-41C1-B1F3-3E7053726FAE}" srcOrd="0" destOrd="0" presId="urn:microsoft.com/office/officeart/2008/layout/LinedList"/>
    <dgm:cxn modelId="{4FA2DCA1-1D4A-4637-A3F1-88A93C7DA937}" type="presParOf" srcId="{B58CFC8F-3874-4775-AA67-0BD03CE43E3E}" destId="{12414B36-01E5-4F48-A8D1-DF44E1A6758A}" srcOrd="1" destOrd="0" presId="urn:microsoft.com/office/officeart/2008/layout/LinedList"/>
    <dgm:cxn modelId="{8AD5A3D0-B06E-4FC9-A68A-2C649E235B80}" type="presParOf" srcId="{0E08CDDD-D799-46AE-8DA8-B9D84A6C9ECA}" destId="{293DB607-DC94-4320-ABE3-4A58FE006814}" srcOrd="6" destOrd="0" presId="urn:microsoft.com/office/officeart/2008/layout/LinedList"/>
    <dgm:cxn modelId="{FD481781-9F46-42D6-BAF5-A00E72DD0D90}" type="presParOf" srcId="{0E08CDDD-D799-46AE-8DA8-B9D84A6C9ECA}" destId="{86045EF4-7BAA-494F-B3F1-1F4D0633A660}" srcOrd="7" destOrd="0" presId="urn:microsoft.com/office/officeart/2008/layout/LinedList"/>
    <dgm:cxn modelId="{4877C81C-94CD-4E23-9B6D-9FE4E527F54D}" type="presParOf" srcId="{86045EF4-7BAA-494F-B3F1-1F4D0633A660}" destId="{BE124FF5-579D-4DA2-BFC7-060C592983AA}" srcOrd="0" destOrd="0" presId="urn:microsoft.com/office/officeart/2008/layout/LinedList"/>
    <dgm:cxn modelId="{F5A18DE1-AFA1-4B48-A540-3BADE35BECEA}" type="presParOf" srcId="{86045EF4-7BAA-494F-B3F1-1F4D0633A660}" destId="{A5688B38-CD16-456E-BF9C-DD0F3ED33C9E}" srcOrd="1" destOrd="0" presId="urn:microsoft.com/office/officeart/2008/layout/LinedList"/>
    <dgm:cxn modelId="{2ED587C7-8614-49F8-B8E3-9D099F1B03BC}" type="presParOf" srcId="{0E08CDDD-D799-46AE-8DA8-B9D84A6C9ECA}" destId="{7BBB4FAB-7818-4FC5-918D-D9EEE05AC3CA}" srcOrd="8" destOrd="0" presId="urn:microsoft.com/office/officeart/2008/layout/LinedList"/>
    <dgm:cxn modelId="{48F668B5-B0D0-42AE-A95C-7E9F0AB457F7}" type="presParOf" srcId="{0E08CDDD-D799-46AE-8DA8-B9D84A6C9ECA}" destId="{516FC424-3380-4261-A5AD-63B933B99109}" srcOrd="9" destOrd="0" presId="urn:microsoft.com/office/officeart/2008/layout/LinedList"/>
    <dgm:cxn modelId="{4B69C5A9-BDB3-45A1-AF3F-A982513E5990}" type="presParOf" srcId="{516FC424-3380-4261-A5AD-63B933B99109}" destId="{DA7F14D9-4CFB-45DB-9DF3-36C6267CD51E}" srcOrd="0" destOrd="0" presId="urn:microsoft.com/office/officeart/2008/layout/LinedList"/>
    <dgm:cxn modelId="{8489FC99-864E-4855-AD87-A711132C0675}" type="presParOf" srcId="{516FC424-3380-4261-A5AD-63B933B99109}" destId="{D4F53178-F038-4B7E-8D74-94104B638FF6}" srcOrd="1" destOrd="0" presId="urn:microsoft.com/office/officeart/2008/layout/LinedList"/>
    <dgm:cxn modelId="{9E18DE7C-47C0-4A42-8D74-E58FE7A7651E}" type="presParOf" srcId="{0E08CDDD-D799-46AE-8DA8-B9D84A6C9ECA}" destId="{13AE7B4D-134C-433F-A593-B05916180FD6}" srcOrd="10" destOrd="0" presId="urn:microsoft.com/office/officeart/2008/layout/LinedList"/>
    <dgm:cxn modelId="{15F6E007-B546-4579-BFCF-7C22EE17898E}" type="presParOf" srcId="{0E08CDDD-D799-46AE-8DA8-B9D84A6C9ECA}" destId="{12C92965-92C6-4B36-9E64-380A1FAD21F8}" srcOrd="11" destOrd="0" presId="urn:microsoft.com/office/officeart/2008/layout/LinedList"/>
    <dgm:cxn modelId="{05AC590B-BE8A-4672-9804-3653E242B7E5}" type="presParOf" srcId="{12C92965-92C6-4B36-9E64-380A1FAD21F8}" destId="{C413FD6A-6C86-4523-BC57-5AF88DC499AE}" srcOrd="0" destOrd="0" presId="urn:microsoft.com/office/officeart/2008/layout/LinedList"/>
    <dgm:cxn modelId="{7FFA8DE1-E3ED-4234-A9C2-00B97E1FB8CF}" type="presParOf" srcId="{12C92965-92C6-4B36-9E64-380A1FAD21F8}" destId="{DA05DB1A-EFEC-4EC7-920D-D04B7AB2487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5F75ED-C415-4426-B3C4-F3600E664291}"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48347D27-68CD-4A66-85D4-03BDD7590417}">
      <dgm:prSet phldrT="[Text]" custT="1"/>
      <dgm:spPr/>
      <dgm:t>
        <a:bodyPr/>
        <a:lstStyle/>
        <a:p>
          <a:r>
            <a:rPr lang="en-US" sz="2000" dirty="0">
              <a:solidFill>
                <a:schemeClr val="tx2"/>
              </a:solidFill>
            </a:rPr>
            <a:t>Communication is a critical contributing factor in 46% of malpractice cases.</a:t>
          </a:r>
        </a:p>
      </dgm:t>
    </dgm:pt>
    <dgm:pt modelId="{4F90927A-B020-4460-88DB-4E4F440CD43D}" type="parTrans" cxnId="{DF9F1BEA-2611-49AC-8985-122429C9A220}">
      <dgm:prSet/>
      <dgm:spPr/>
      <dgm:t>
        <a:bodyPr/>
        <a:lstStyle/>
        <a:p>
          <a:endParaRPr lang="en-US" sz="2000">
            <a:solidFill>
              <a:schemeClr val="tx2"/>
            </a:solidFill>
          </a:endParaRPr>
        </a:p>
      </dgm:t>
    </dgm:pt>
    <dgm:pt modelId="{88A04E7E-E9AB-4936-806D-9D64AC2B985F}" type="sibTrans" cxnId="{DF9F1BEA-2611-49AC-8985-122429C9A220}">
      <dgm:prSet/>
      <dgm:spPr/>
      <dgm:t>
        <a:bodyPr/>
        <a:lstStyle/>
        <a:p>
          <a:endParaRPr lang="en-US" sz="2000">
            <a:solidFill>
              <a:schemeClr val="tx2"/>
            </a:solidFill>
          </a:endParaRPr>
        </a:p>
      </dgm:t>
    </dgm:pt>
    <dgm:pt modelId="{70763FE8-66CA-4C9D-A9CE-8484B6A5491E}">
      <dgm:prSet custT="1"/>
      <dgm:spPr/>
      <dgm:t>
        <a:bodyPr/>
        <a:lstStyle/>
        <a:p>
          <a:r>
            <a:rPr lang="en-US" sz="2000" dirty="0">
              <a:solidFill>
                <a:schemeClr val="tx2"/>
              </a:solidFill>
            </a:rPr>
            <a:t>Inadequate or poor communication can occur among various members of the care team or between clinicians and patients. </a:t>
          </a:r>
        </a:p>
      </dgm:t>
    </dgm:pt>
    <dgm:pt modelId="{E978C4F2-32A2-47D9-89A7-D4CC1D587C51}" type="parTrans" cxnId="{AD782699-89AC-4DC9-9117-2BD8E0AA2C35}">
      <dgm:prSet/>
      <dgm:spPr/>
      <dgm:t>
        <a:bodyPr/>
        <a:lstStyle/>
        <a:p>
          <a:endParaRPr lang="en-US" sz="2000">
            <a:solidFill>
              <a:schemeClr val="tx2"/>
            </a:solidFill>
          </a:endParaRPr>
        </a:p>
      </dgm:t>
    </dgm:pt>
    <dgm:pt modelId="{03760E12-BD91-40F1-A547-09D110BD6964}" type="sibTrans" cxnId="{AD782699-89AC-4DC9-9117-2BD8E0AA2C35}">
      <dgm:prSet/>
      <dgm:spPr/>
      <dgm:t>
        <a:bodyPr/>
        <a:lstStyle/>
        <a:p>
          <a:endParaRPr lang="en-US" sz="2000">
            <a:solidFill>
              <a:schemeClr val="tx2"/>
            </a:solidFill>
          </a:endParaRPr>
        </a:p>
      </dgm:t>
    </dgm:pt>
    <dgm:pt modelId="{AFBDE910-8A7E-4029-845E-80C20F15C696}">
      <dgm:prSet custT="1"/>
      <dgm:spPr/>
      <dgm:t>
        <a:bodyPr/>
        <a:lstStyle/>
        <a:p>
          <a:r>
            <a:rPr lang="en-US" sz="2000" dirty="0">
              <a:solidFill>
                <a:schemeClr val="tx2"/>
              </a:solidFill>
            </a:rPr>
            <a:t>Active listening, having patience, and being aware of communication barriers (e.g., health literacy issues and cultural differences) are helpful techniques for improving patient comprehension. </a:t>
          </a:r>
        </a:p>
      </dgm:t>
    </dgm:pt>
    <dgm:pt modelId="{08EB4DAF-90C8-409F-8962-AD2F19959039}" type="parTrans" cxnId="{BEA68E85-10C6-4F40-905A-0DB89D89CDF8}">
      <dgm:prSet/>
      <dgm:spPr/>
      <dgm:t>
        <a:bodyPr/>
        <a:lstStyle/>
        <a:p>
          <a:endParaRPr lang="en-US" sz="2000">
            <a:solidFill>
              <a:schemeClr val="tx2"/>
            </a:solidFill>
          </a:endParaRPr>
        </a:p>
      </dgm:t>
    </dgm:pt>
    <dgm:pt modelId="{C383FDEE-ABAB-435D-B201-97756BB9BEE3}" type="sibTrans" cxnId="{BEA68E85-10C6-4F40-905A-0DB89D89CDF8}">
      <dgm:prSet/>
      <dgm:spPr/>
      <dgm:t>
        <a:bodyPr/>
        <a:lstStyle/>
        <a:p>
          <a:endParaRPr lang="en-US" sz="2000">
            <a:solidFill>
              <a:schemeClr val="tx2"/>
            </a:solidFill>
          </a:endParaRPr>
        </a:p>
      </dgm:t>
    </dgm:pt>
    <dgm:pt modelId="{BDA40609-0E8C-4804-8C0E-9702EB91D791}">
      <dgm:prSet custT="1"/>
      <dgm:spPr/>
      <dgm:t>
        <a:bodyPr/>
        <a:lstStyle/>
        <a:p>
          <a:r>
            <a:rPr lang="en-US" sz="2000" dirty="0">
              <a:solidFill>
                <a:schemeClr val="tx2"/>
              </a:solidFill>
            </a:rPr>
            <a:t>It takes patient about 60 seconds to tell their stories; but clinicians will interrupt or redirect patients within the first 11–23 seconds of telling their stories. </a:t>
          </a:r>
        </a:p>
      </dgm:t>
    </dgm:pt>
    <dgm:pt modelId="{C6AD4C27-8F26-4B66-B1D9-F226FCA96347}" type="parTrans" cxnId="{C79099F4-D78A-4A9C-B82D-782F97032F68}">
      <dgm:prSet/>
      <dgm:spPr/>
      <dgm:t>
        <a:bodyPr/>
        <a:lstStyle/>
        <a:p>
          <a:endParaRPr lang="en-US" sz="2000">
            <a:solidFill>
              <a:schemeClr val="tx2"/>
            </a:solidFill>
          </a:endParaRPr>
        </a:p>
      </dgm:t>
    </dgm:pt>
    <dgm:pt modelId="{D2A75752-8FF5-45E3-A271-6231EFAA0974}" type="sibTrans" cxnId="{C79099F4-D78A-4A9C-B82D-782F97032F68}">
      <dgm:prSet/>
      <dgm:spPr/>
      <dgm:t>
        <a:bodyPr/>
        <a:lstStyle/>
        <a:p>
          <a:endParaRPr lang="en-US" sz="2000">
            <a:solidFill>
              <a:schemeClr val="tx2"/>
            </a:solidFill>
          </a:endParaRPr>
        </a:p>
      </dgm:t>
    </dgm:pt>
    <dgm:pt modelId="{DB117C48-56B4-4EE8-A7F6-5F5F2EFD91FE}">
      <dgm:prSet custT="1"/>
      <dgm:spPr/>
      <dgm:t>
        <a:bodyPr/>
        <a:lstStyle/>
        <a:p>
          <a:r>
            <a:rPr lang="en-US" sz="2000" dirty="0">
              <a:solidFill>
                <a:schemeClr val="tx2"/>
              </a:solidFill>
            </a:rPr>
            <a:t>Establishing rapport with patients is essential to gaining their trust and developing good doctor-patient relationships. </a:t>
          </a:r>
        </a:p>
      </dgm:t>
    </dgm:pt>
    <dgm:pt modelId="{EE965F04-73BC-476E-BD1F-8A0E674EAD82}" type="parTrans" cxnId="{37BED570-A303-49DC-A5A5-017D147960B1}">
      <dgm:prSet/>
      <dgm:spPr/>
      <dgm:t>
        <a:bodyPr/>
        <a:lstStyle/>
        <a:p>
          <a:endParaRPr lang="en-US" sz="2000">
            <a:solidFill>
              <a:schemeClr val="tx2"/>
            </a:solidFill>
          </a:endParaRPr>
        </a:p>
      </dgm:t>
    </dgm:pt>
    <dgm:pt modelId="{8975D551-FFE8-4B66-81B5-72FF5615BF69}" type="sibTrans" cxnId="{37BED570-A303-49DC-A5A5-017D147960B1}">
      <dgm:prSet/>
      <dgm:spPr/>
      <dgm:t>
        <a:bodyPr/>
        <a:lstStyle/>
        <a:p>
          <a:endParaRPr lang="en-US" sz="2000">
            <a:solidFill>
              <a:schemeClr val="tx2"/>
            </a:solidFill>
          </a:endParaRPr>
        </a:p>
      </dgm:t>
    </dgm:pt>
    <dgm:pt modelId="{9898DB44-2531-4528-9E4F-C03369D197C5}" type="pres">
      <dgm:prSet presAssocID="{E85F75ED-C415-4426-B3C4-F3600E664291}" presName="vert0" presStyleCnt="0">
        <dgm:presLayoutVars>
          <dgm:dir/>
          <dgm:animOne val="branch"/>
          <dgm:animLvl val="lvl"/>
        </dgm:presLayoutVars>
      </dgm:prSet>
      <dgm:spPr/>
      <dgm:t>
        <a:bodyPr/>
        <a:lstStyle/>
        <a:p>
          <a:endParaRPr lang="en-US"/>
        </a:p>
      </dgm:t>
    </dgm:pt>
    <dgm:pt modelId="{650A5B7E-38ED-4BD2-84BA-71CE9A6DB5F5}" type="pres">
      <dgm:prSet presAssocID="{48347D27-68CD-4A66-85D4-03BDD7590417}" presName="thickLine" presStyleLbl="alignNode1" presStyleIdx="0" presStyleCnt="5"/>
      <dgm:spPr/>
    </dgm:pt>
    <dgm:pt modelId="{0AB49B4E-8E94-4CA0-BFC7-C18FCDEA960B}" type="pres">
      <dgm:prSet presAssocID="{48347D27-68CD-4A66-85D4-03BDD7590417}" presName="horz1" presStyleCnt="0"/>
      <dgm:spPr/>
    </dgm:pt>
    <dgm:pt modelId="{B23DDA36-04CA-470E-9C23-A0044E5A47D1}" type="pres">
      <dgm:prSet presAssocID="{48347D27-68CD-4A66-85D4-03BDD7590417}" presName="tx1" presStyleLbl="revTx" presStyleIdx="0" presStyleCnt="5" custScaleY="73025"/>
      <dgm:spPr/>
      <dgm:t>
        <a:bodyPr/>
        <a:lstStyle/>
        <a:p>
          <a:endParaRPr lang="en-US"/>
        </a:p>
      </dgm:t>
    </dgm:pt>
    <dgm:pt modelId="{0730A3B6-C4DA-4EA8-8094-5CD3E63A4441}" type="pres">
      <dgm:prSet presAssocID="{48347D27-68CD-4A66-85D4-03BDD7590417}" presName="vert1" presStyleCnt="0"/>
      <dgm:spPr/>
    </dgm:pt>
    <dgm:pt modelId="{9EECAA52-EA83-439F-9F8F-9B94281A4E22}" type="pres">
      <dgm:prSet presAssocID="{70763FE8-66CA-4C9D-A9CE-8484B6A5491E}" presName="thickLine" presStyleLbl="alignNode1" presStyleIdx="1" presStyleCnt="5"/>
      <dgm:spPr/>
    </dgm:pt>
    <dgm:pt modelId="{264DAF92-F7CE-449E-8FEA-934650374278}" type="pres">
      <dgm:prSet presAssocID="{70763FE8-66CA-4C9D-A9CE-8484B6A5491E}" presName="horz1" presStyleCnt="0"/>
      <dgm:spPr/>
    </dgm:pt>
    <dgm:pt modelId="{D001DEAC-3884-4405-8B9F-233887B8E152}" type="pres">
      <dgm:prSet presAssocID="{70763FE8-66CA-4C9D-A9CE-8484B6A5491E}" presName="tx1" presStyleLbl="revTx" presStyleIdx="1" presStyleCnt="5" custScaleY="86036"/>
      <dgm:spPr/>
      <dgm:t>
        <a:bodyPr/>
        <a:lstStyle/>
        <a:p>
          <a:endParaRPr lang="en-US"/>
        </a:p>
      </dgm:t>
    </dgm:pt>
    <dgm:pt modelId="{4C9803C4-FD54-43A9-AF67-5681D7B16847}" type="pres">
      <dgm:prSet presAssocID="{70763FE8-66CA-4C9D-A9CE-8484B6A5491E}" presName="vert1" presStyleCnt="0"/>
      <dgm:spPr/>
    </dgm:pt>
    <dgm:pt modelId="{E754CA18-EF0F-4E33-A9A6-BD385C82A452}" type="pres">
      <dgm:prSet presAssocID="{AFBDE910-8A7E-4029-845E-80C20F15C696}" presName="thickLine" presStyleLbl="alignNode1" presStyleIdx="2" presStyleCnt="5"/>
      <dgm:spPr/>
    </dgm:pt>
    <dgm:pt modelId="{E995E97A-4ECC-4D6C-A60B-417E4795340D}" type="pres">
      <dgm:prSet presAssocID="{AFBDE910-8A7E-4029-845E-80C20F15C696}" presName="horz1" presStyleCnt="0"/>
      <dgm:spPr/>
    </dgm:pt>
    <dgm:pt modelId="{E95D9444-7230-4C75-9FDA-32288B6E4847}" type="pres">
      <dgm:prSet presAssocID="{AFBDE910-8A7E-4029-845E-80C20F15C696}" presName="tx1" presStyleLbl="revTx" presStyleIdx="2" presStyleCnt="5" custScaleY="104023"/>
      <dgm:spPr/>
      <dgm:t>
        <a:bodyPr/>
        <a:lstStyle/>
        <a:p>
          <a:endParaRPr lang="en-US"/>
        </a:p>
      </dgm:t>
    </dgm:pt>
    <dgm:pt modelId="{60464513-3AF7-4FA5-8436-CDEF1E81DADB}" type="pres">
      <dgm:prSet presAssocID="{AFBDE910-8A7E-4029-845E-80C20F15C696}" presName="vert1" presStyleCnt="0"/>
      <dgm:spPr/>
    </dgm:pt>
    <dgm:pt modelId="{F392AFD0-8F4A-46B5-BD78-EC75A0CECE75}" type="pres">
      <dgm:prSet presAssocID="{BDA40609-0E8C-4804-8C0E-9702EB91D791}" presName="thickLine" presStyleLbl="alignNode1" presStyleIdx="3" presStyleCnt="5"/>
      <dgm:spPr/>
    </dgm:pt>
    <dgm:pt modelId="{AC47A68D-1FF0-4DC9-8B53-93DCD257A2C5}" type="pres">
      <dgm:prSet presAssocID="{BDA40609-0E8C-4804-8C0E-9702EB91D791}" presName="horz1" presStyleCnt="0"/>
      <dgm:spPr/>
    </dgm:pt>
    <dgm:pt modelId="{3139C33B-3495-4882-83AE-CC20C3662958}" type="pres">
      <dgm:prSet presAssocID="{BDA40609-0E8C-4804-8C0E-9702EB91D791}" presName="tx1" presStyleLbl="revTx" presStyleIdx="3" presStyleCnt="5"/>
      <dgm:spPr/>
      <dgm:t>
        <a:bodyPr/>
        <a:lstStyle/>
        <a:p>
          <a:endParaRPr lang="en-US"/>
        </a:p>
      </dgm:t>
    </dgm:pt>
    <dgm:pt modelId="{A91A5AB1-3C80-4B8F-BAA1-490501EA4A43}" type="pres">
      <dgm:prSet presAssocID="{BDA40609-0E8C-4804-8C0E-9702EB91D791}" presName="vert1" presStyleCnt="0"/>
      <dgm:spPr/>
    </dgm:pt>
    <dgm:pt modelId="{B89BC692-9684-4651-A5D3-C583967EAB23}" type="pres">
      <dgm:prSet presAssocID="{DB117C48-56B4-4EE8-A7F6-5F5F2EFD91FE}" presName="thickLine" presStyleLbl="alignNode1" presStyleIdx="4" presStyleCnt="5"/>
      <dgm:spPr/>
    </dgm:pt>
    <dgm:pt modelId="{58B6030A-AC4F-456B-80EF-A29DA6C679D2}" type="pres">
      <dgm:prSet presAssocID="{DB117C48-56B4-4EE8-A7F6-5F5F2EFD91FE}" presName="horz1" presStyleCnt="0"/>
      <dgm:spPr/>
    </dgm:pt>
    <dgm:pt modelId="{80692CA3-65EE-4DE0-9E61-0CC13AA1F2B9}" type="pres">
      <dgm:prSet presAssocID="{DB117C48-56B4-4EE8-A7F6-5F5F2EFD91FE}" presName="tx1" presStyleLbl="revTx" presStyleIdx="4" presStyleCnt="5"/>
      <dgm:spPr/>
      <dgm:t>
        <a:bodyPr/>
        <a:lstStyle/>
        <a:p>
          <a:endParaRPr lang="en-US"/>
        </a:p>
      </dgm:t>
    </dgm:pt>
    <dgm:pt modelId="{DA09C241-CF3B-48ED-9361-9C56E6125306}" type="pres">
      <dgm:prSet presAssocID="{DB117C48-56B4-4EE8-A7F6-5F5F2EFD91FE}" presName="vert1" presStyleCnt="0"/>
      <dgm:spPr/>
    </dgm:pt>
  </dgm:ptLst>
  <dgm:cxnLst>
    <dgm:cxn modelId="{D2366C86-BA76-4A20-8E59-CF6CFDCC9E23}" type="presOf" srcId="{AFBDE910-8A7E-4029-845E-80C20F15C696}" destId="{E95D9444-7230-4C75-9FDA-32288B6E4847}" srcOrd="0" destOrd="0" presId="urn:microsoft.com/office/officeart/2008/layout/LinedList"/>
    <dgm:cxn modelId="{37BED570-A303-49DC-A5A5-017D147960B1}" srcId="{E85F75ED-C415-4426-B3C4-F3600E664291}" destId="{DB117C48-56B4-4EE8-A7F6-5F5F2EFD91FE}" srcOrd="4" destOrd="0" parTransId="{EE965F04-73BC-476E-BD1F-8A0E674EAD82}" sibTransId="{8975D551-FFE8-4B66-81B5-72FF5615BF69}"/>
    <dgm:cxn modelId="{D8A33928-BBF3-4138-856E-5D0ADA9B197D}" type="presOf" srcId="{DB117C48-56B4-4EE8-A7F6-5F5F2EFD91FE}" destId="{80692CA3-65EE-4DE0-9E61-0CC13AA1F2B9}" srcOrd="0" destOrd="0" presId="urn:microsoft.com/office/officeart/2008/layout/LinedList"/>
    <dgm:cxn modelId="{F061D6FC-D62D-4CBF-A8E7-6855F7DD01B3}" type="presOf" srcId="{E85F75ED-C415-4426-B3C4-F3600E664291}" destId="{9898DB44-2531-4528-9E4F-C03369D197C5}" srcOrd="0" destOrd="0" presId="urn:microsoft.com/office/officeart/2008/layout/LinedList"/>
    <dgm:cxn modelId="{DF9F1BEA-2611-49AC-8985-122429C9A220}" srcId="{E85F75ED-C415-4426-B3C4-F3600E664291}" destId="{48347D27-68CD-4A66-85D4-03BDD7590417}" srcOrd="0" destOrd="0" parTransId="{4F90927A-B020-4460-88DB-4E4F440CD43D}" sibTransId="{88A04E7E-E9AB-4936-806D-9D64AC2B985F}"/>
    <dgm:cxn modelId="{6C6F5739-E719-4CCA-830B-940BB32EDFAD}" type="presOf" srcId="{48347D27-68CD-4A66-85D4-03BDD7590417}" destId="{B23DDA36-04CA-470E-9C23-A0044E5A47D1}" srcOrd="0" destOrd="0" presId="urn:microsoft.com/office/officeart/2008/layout/LinedList"/>
    <dgm:cxn modelId="{BEA68E85-10C6-4F40-905A-0DB89D89CDF8}" srcId="{E85F75ED-C415-4426-B3C4-F3600E664291}" destId="{AFBDE910-8A7E-4029-845E-80C20F15C696}" srcOrd="2" destOrd="0" parTransId="{08EB4DAF-90C8-409F-8962-AD2F19959039}" sibTransId="{C383FDEE-ABAB-435D-B201-97756BB9BEE3}"/>
    <dgm:cxn modelId="{AD782699-89AC-4DC9-9117-2BD8E0AA2C35}" srcId="{E85F75ED-C415-4426-B3C4-F3600E664291}" destId="{70763FE8-66CA-4C9D-A9CE-8484B6A5491E}" srcOrd="1" destOrd="0" parTransId="{E978C4F2-32A2-47D9-89A7-D4CC1D587C51}" sibTransId="{03760E12-BD91-40F1-A547-09D110BD6964}"/>
    <dgm:cxn modelId="{272CA59C-667E-4722-B3FE-EE2EB036FE44}" type="presOf" srcId="{70763FE8-66CA-4C9D-A9CE-8484B6A5491E}" destId="{D001DEAC-3884-4405-8B9F-233887B8E152}" srcOrd="0" destOrd="0" presId="urn:microsoft.com/office/officeart/2008/layout/LinedList"/>
    <dgm:cxn modelId="{ABA058CF-B65A-4816-B9E6-9B1450C92D68}" type="presOf" srcId="{BDA40609-0E8C-4804-8C0E-9702EB91D791}" destId="{3139C33B-3495-4882-83AE-CC20C3662958}" srcOrd="0" destOrd="0" presId="urn:microsoft.com/office/officeart/2008/layout/LinedList"/>
    <dgm:cxn modelId="{C79099F4-D78A-4A9C-B82D-782F97032F68}" srcId="{E85F75ED-C415-4426-B3C4-F3600E664291}" destId="{BDA40609-0E8C-4804-8C0E-9702EB91D791}" srcOrd="3" destOrd="0" parTransId="{C6AD4C27-8F26-4B66-B1D9-F226FCA96347}" sibTransId="{D2A75752-8FF5-45E3-A271-6231EFAA0974}"/>
    <dgm:cxn modelId="{B0593B86-DB3E-46BA-A698-E7D007ECFC67}" type="presParOf" srcId="{9898DB44-2531-4528-9E4F-C03369D197C5}" destId="{650A5B7E-38ED-4BD2-84BA-71CE9A6DB5F5}" srcOrd="0" destOrd="0" presId="urn:microsoft.com/office/officeart/2008/layout/LinedList"/>
    <dgm:cxn modelId="{38E5F244-9729-454C-8BFC-4A2062FFB541}" type="presParOf" srcId="{9898DB44-2531-4528-9E4F-C03369D197C5}" destId="{0AB49B4E-8E94-4CA0-BFC7-C18FCDEA960B}" srcOrd="1" destOrd="0" presId="urn:microsoft.com/office/officeart/2008/layout/LinedList"/>
    <dgm:cxn modelId="{5400D778-6D70-4935-BDF2-D4EA9188D2F3}" type="presParOf" srcId="{0AB49B4E-8E94-4CA0-BFC7-C18FCDEA960B}" destId="{B23DDA36-04CA-470E-9C23-A0044E5A47D1}" srcOrd="0" destOrd="0" presId="urn:microsoft.com/office/officeart/2008/layout/LinedList"/>
    <dgm:cxn modelId="{7CE022F6-7044-49BF-8478-15601090F8FE}" type="presParOf" srcId="{0AB49B4E-8E94-4CA0-BFC7-C18FCDEA960B}" destId="{0730A3B6-C4DA-4EA8-8094-5CD3E63A4441}" srcOrd="1" destOrd="0" presId="urn:microsoft.com/office/officeart/2008/layout/LinedList"/>
    <dgm:cxn modelId="{446D667B-6835-4DE2-B9E7-2C573C225C0C}" type="presParOf" srcId="{9898DB44-2531-4528-9E4F-C03369D197C5}" destId="{9EECAA52-EA83-439F-9F8F-9B94281A4E22}" srcOrd="2" destOrd="0" presId="urn:microsoft.com/office/officeart/2008/layout/LinedList"/>
    <dgm:cxn modelId="{47ABABF0-8F52-4D59-B67E-1FF3102D94FB}" type="presParOf" srcId="{9898DB44-2531-4528-9E4F-C03369D197C5}" destId="{264DAF92-F7CE-449E-8FEA-934650374278}" srcOrd="3" destOrd="0" presId="urn:microsoft.com/office/officeart/2008/layout/LinedList"/>
    <dgm:cxn modelId="{4C604F77-A401-4479-88E4-FF00A4C3EEB5}" type="presParOf" srcId="{264DAF92-F7CE-449E-8FEA-934650374278}" destId="{D001DEAC-3884-4405-8B9F-233887B8E152}" srcOrd="0" destOrd="0" presId="urn:microsoft.com/office/officeart/2008/layout/LinedList"/>
    <dgm:cxn modelId="{4D9CD782-9FC4-44F0-99E4-EACCE214B6BC}" type="presParOf" srcId="{264DAF92-F7CE-449E-8FEA-934650374278}" destId="{4C9803C4-FD54-43A9-AF67-5681D7B16847}" srcOrd="1" destOrd="0" presId="urn:microsoft.com/office/officeart/2008/layout/LinedList"/>
    <dgm:cxn modelId="{672C205E-9BE6-47AC-B5DC-C0D214B57876}" type="presParOf" srcId="{9898DB44-2531-4528-9E4F-C03369D197C5}" destId="{E754CA18-EF0F-4E33-A9A6-BD385C82A452}" srcOrd="4" destOrd="0" presId="urn:microsoft.com/office/officeart/2008/layout/LinedList"/>
    <dgm:cxn modelId="{9F0F2E45-BFCA-421A-9CF4-D5483C1F7534}" type="presParOf" srcId="{9898DB44-2531-4528-9E4F-C03369D197C5}" destId="{E995E97A-4ECC-4D6C-A60B-417E4795340D}" srcOrd="5" destOrd="0" presId="urn:microsoft.com/office/officeart/2008/layout/LinedList"/>
    <dgm:cxn modelId="{CEEFF913-DB7D-4692-ADB0-33154185BF40}" type="presParOf" srcId="{E995E97A-4ECC-4D6C-A60B-417E4795340D}" destId="{E95D9444-7230-4C75-9FDA-32288B6E4847}" srcOrd="0" destOrd="0" presId="urn:microsoft.com/office/officeart/2008/layout/LinedList"/>
    <dgm:cxn modelId="{F87C5A88-924E-4590-899A-1D319566840A}" type="presParOf" srcId="{E995E97A-4ECC-4D6C-A60B-417E4795340D}" destId="{60464513-3AF7-4FA5-8436-CDEF1E81DADB}" srcOrd="1" destOrd="0" presId="urn:microsoft.com/office/officeart/2008/layout/LinedList"/>
    <dgm:cxn modelId="{26FE7058-0820-4AF3-AEAC-87E1D9D5FB6D}" type="presParOf" srcId="{9898DB44-2531-4528-9E4F-C03369D197C5}" destId="{F392AFD0-8F4A-46B5-BD78-EC75A0CECE75}" srcOrd="6" destOrd="0" presId="urn:microsoft.com/office/officeart/2008/layout/LinedList"/>
    <dgm:cxn modelId="{9C903A66-08DF-48A5-AA1E-9BE5297DB421}" type="presParOf" srcId="{9898DB44-2531-4528-9E4F-C03369D197C5}" destId="{AC47A68D-1FF0-4DC9-8B53-93DCD257A2C5}" srcOrd="7" destOrd="0" presId="urn:microsoft.com/office/officeart/2008/layout/LinedList"/>
    <dgm:cxn modelId="{B78DE7FB-51EB-4C5B-AD2A-F5C317DE3509}" type="presParOf" srcId="{AC47A68D-1FF0-4DC9-8B53-93DCD257A2C5}" destId="{3139C33B-3495-4882-83AE-CC20C3662958}" srcOrd="0" destOrd="0" presId="urn:microsoft.com/office/officeart/2008/layout/LinedList"/>
    <dgm:cxn modelId="{B17BAF00-04D2-42A0-AAB9-EAC7C08313AD}" type="presParOf" srcId="{AC47A68D-1FF0-4DC9-8B53-93DCD257A2C5}" destId="{A91A5AB1-3C80-4B8F-BAA1-490501EA4A43}" srcOrd="1" destOrd="0" presId="urn:microsoft.com/office/officeart/2008/layout/LinedList"/>
    <dgm:cxn modelId="{D830B012-F046-4200-9E93-8A8B9AC894F7}" type="presParOf" srcId="{9898DB44-2531-4528-9E4F-C03369D197C5}" destId="{B89BC692-9684-4651-A5D3-C583967EAB23}" srcOrd="8" destOrd="0" presId="urn:microsoft.com/office/officeart/2008/layout/LinedList"/>
    <dgm:cxn modelId="{3E5A365F-B3C2-4555-A622-87F26E6044C2}" type="presParOf" srcId="{9898DB44-2531-4528-9E4F-C03369D197C5}" destId="{58B6030A-AC4F-456B-80EF-A29DA6C679D2}" srcOrd="9" destOrd="0" presId="urn:microsoft.com/office/officeart/2008/layout/LinedList"/>
    <dgm:cxn modelId="{5B83DD8C-BC51-41C2-B5EE-DDDEF2FD50EF}" type="presParOf" srcId="{58B6030A-AC4F-456B-80EF-A29DA6C679D2}" destId="{80692CA3-65EE-4DE0-9E61-0CC13AA1F2B9}" srcOrd="0" destOrd="0" presId="urn:microsoft.com/office/officeart/2008/layout/LinedList"/>
    <dgm:cxn modelId="{8BC02AFA-07EF-4F67-AD15-E983BFE95788}" type="presParOf" srcId="{58B6030A-AC4F-456B-80EF-A29DA6C679D2}" destId="{DA09C241-CF3B-48ED-9361-9C56E6125306}"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6FC82E7-BDEA-4125-8C55-E3FBC1C8C08E}"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BBDDD003-1823-473E-8399-14FAA4B3B9EE}">
      <dgm:prSet phldrT="[Text]" custT="1"/>
      <dgm:spPr/>
      <dgm:t>
        <a:bodyPr/>
        <a:lstStyle/>
        <a:p>
          <a:r>
            <a:rPr lang="en-US" sz="2000" dirty="0">
              <a:latin typeface="+mn-lt"/>
            </a:rPr>
            <a:t>To help align expectations, it is critical that surgeons:</a:t>
          </a:r>
          <a:endParaRPr lang="en-US" sz="2000" dirty="0"/>
        </a:p>
      </dgm:t>
    </dgm:pt>
    <dgm:pt modelId="{4A535AB8-8A27-4DFF-BF74-5554C9CF0C58}" type="parTrans" cxnId="{56C2827A-21E1-43BB-A0F5-D7337CD56144}">
      <dgm:prSet/>
      <dgm:spPr/>
      <dgm:t>
        <a:bodyPr/>
        <a:lstStyle/>
        <a:p>
          <a:endParaRPr lang="en-US" sz="2000"/>
        </a:p>
      </dgm:t>
    </dgm:pt>
    <dgm:pt modelId="{ADF63B1F-F9B5-41B0-986E-4A5DB0122A62}" type="sibTrans" cxnId="{56C2827A-21E1-43BB-A0F5-D7337CD56144}">
      <dgm:prSet/>
      <dgm:spPr/>
      <dgm:t>
        <a:bodyPr/>
        <a:lstStyle/>
        <a:p>
          <a:endParaRPr lang="en-US" sz="2000"/>
        </a:p>
      </dgm:t>
    </dgm:pt>
    <dgm:pt modelId="{A13FE4F4-8F81-4A66-A0C8-1D0A154B6B26}">
      <dgm:prSet custT="1"/>
      <dgm:spPr/>
      <dgm:t>
        <a:bodyPr/>
        <a:lstStyle/>
        <a:p>
          <a:pPr>
            <a:lnSpc>
              <a:spcPct val="100000"/>
            </a:lnSpc>
            <a:spcAft>
              <a:spcPts val="600"/>
            </a:spcAft>
          </a:pPr>
          <a:r>
            <a:rPr lang="en-US" sz="2000" dirty="0">
              <a:solidFill>
                <a:schemeClr val="tx2"/>
              </a:solidFill>
              <a:latin typeface="+mn-lt"/>
            </a:rPr>
            <a:t>Establish trust with their patients</a:t>
          </a:r>
        </a:p>
      </dgm:t>
    </dgm:pt>
    <dgm:pt modelId="{92418420-1CBD-4E45-A2A4-28907FD93F42}" type="parTrans" cxnId="{13B47DF7-CA01-4A04-A2A4-D79740777126}">
      <dgm:prSet/>
      <dgm:spPr/>
      <dgm:t>
        <a:bodyPr/>
        <a:lstStyle/>
        <a:p>
          <a:endParaRPr lang="en-US" sz="2000"/>
        </a:p>
      </dgm:t>
    </dgm:pt>
    <dgm:pt modelId="{96B824E2-33B7-4AB3-A1E4-F982BE1F9655}" type="sibTrans" cxnId="{13B47DF7-CA01-4A04-A2A4-D79740777126}">
      <dgm:prSet/>
      <dgm:spPr/>
      <dgm:t>
        <a:bodyPr/>
        <a:lstStyle/>
        <a:p>
          <a:endParaRPr lang="en-US" sz="2000"/>
        </a:p>
      </dgm:t>
    </dgm:pt>
    <dgm:pt modelId="{B3E54C42-CBF9-4EA0-98CA-6BEFB18576C5}">
      <dgm:prSet custT="1"/>
      <dgm:spPr/>
      <dgm:t>
        <a:bodyPr/>
        <a:lstStyle/>
        <a:p>
          <a:pPr>
            <a:lnSpc>
              <a:spcPct val="100000"/>
            </a:lnSpc>
            <a:spcAft>
              <a:spcPts val="600"/>
            </a:spcAft>
          </a:pPr>
          <a:r>
            <a:rPr lang="en-US" sz="2000" dirty="0">
              <a:solidFill>
                <a:schemeClr val="tx2"/>
              </a:solidFill>
              <a:latin typeface="+mn-lt"/>
            </a:rPr>
            <a:t>Take the time to clearly explain the risks and benefits</a:t>
          </a:r>
        </a:p>
      </dgm:t>
    </dgm:pt>
    <dgm:pt modelId="{B90BEE5C-0E0A-42D5-9503-ED2213B50639}" type="parTrans" cxnId="{16DDE2EC-2635-4437-AFA1-77F509DB3F1E}">
      <dgm:prSet/>
      <dgm:spPr/>
      <dgm:t>
        <a:bodyPr/>
        <a:lstStyle/>
        <a:p>
          <a:endParaRPr lang="en-US" sz="2000"/>
        </a:p>
      </dgm:t>
    </dgm:pt>
    <dgm:pt modelId="{E31B8BC2-95C8-440C-8157-9CF36AD76D31}" type="sibTrans" cxnId="{16DDE2EC-2635-4437-AFA1-77F509DB3F1E}">
      <dgm:prSet/>
      <dgm:spPr/>
      <dgm:t>
        <a:bodyPr/>
        <a:lstStyle/>
        <a:p>
          <a:endParaRPr lang="en-US" sz="2000"/>
        </a:p>
      </dgm:t>
    </dgm:pt>
    <dgm:pt modelId="{8AB760B2-5118-43A3-AE3A-041970452505}">
      <dgm:prSet custT="1"/>
      <dgm:spPr/>
      <dgm:t>
        <a:bodyPr/>
        <a:lstStyle/>
        <a:p>
          <a:pPr>
            <a:lnSpc>
              <a:spcPct val="100000"/>
            </a:lnSpc>
            <a:spcAft>
              <a:spcPts val="600"/>
            </a:spcAft>
          </a:pPr>
          <a:r>
            <a:rPr lang="en-US" sz="2000" dirty="0">
              <a:solidFill>
                <a:schemeClr val="tx2"/>
              </a:solidFill>
              <a:latin typeface="+mn-lt"/>
            </a:rPr>
            <a:t>Address patients’ questions and concerns before </a:t>
          </a:r>
          <a:r>
            <a:rPr lang="en-US" sz="2000" i="1" dirty="0">
              <a:solidFill>
                <a:schemeClr val="tx2"/>
              </a:solidFill>
              <a:latin typeface="+mn-lt"/>
            </a:rPr>
            <a:t>and</a:t>
          </a:r>
          <a:r>
            <a:rPr lang="en-US" sz="2000" dirty="0">
              <a:solidFill>
                <a:schemeClr val="tx2"/>
              </a:solidFill>
              <a:latin typeface="+mn-lt"/>
            </a:rPr>
            <a:t> after the procedure</a:t>
          </a:r>
        </a:p>
      </dgm:t>
    </dgm:pt>
    <dgm:pt modelId="{7E07323E-D92C-4FA5-B70E-CCD3B53125C4}" type="parTrans" cxnId="{EDF85F36-2DF5-4299-8BC2-800A7B600837}">
      <dgm:prSet/>
      <dgm:spPr/>
      <dgm:t>
        <a:bodyPr/>
        <a:lstStyle/>
        <a:p>
          <a:endParaRPr lang="en-US" sz="2000"/>
        </a:p>
      </dgm:t>
    </dgm:pt>
    <dgm:pt modelId="{5948C79C-29B9-4BC6-98BC-2C5D7604DDC0}" type="sibTrans" cxnId="{EDF85F36-2DF5-4299-8BC2-800A7B600837}">
      <dgm:prSet/>
      <dgm:spPr/>
      <dgm:t>
        <a:bodyPr/>
        <a:lstStyle/>
        <a:p>
          <a:endParaRPr lang="en-US" sz="2000"/>
        </a:p>
      </dgm:t>
    </dgm:pt>
    <dgm:pt modelId="{79B17325-0AF5-48DE-A82B-5245B526FC28}">
      <dgm:prSet custT="1"/>
      <dgm:spPr/>
      <dgm:t>
        <a:bodyPr/>
        <a:lstStyle/>
        <a:p>
          <a:pPr>
            <a:lnSpc>
              <a:spcPct val="100000"/>
            </a:lnSpc>
            <a:spcAft>
              <a:spcPts val="600"/>
            </a:spcAft>
          </a:pPr>
          <a:r>
            <a:rPr lang="en-US" sz="2000" dirty="0">
              <a:solidFill>
                <a:schemeClr val="tx2"/>
              </a:solidFill>
              <a:latin typeface="+mn-lt"/>
            </a:rPr>
            <a:t>Acknowledge the challenges of health literacy, communication barriers, and cultural perspectives</a:t>
          </a:r>
        </a:p>
      </dgm:t>
    </dgm:pt>
    <dgm:pt modelId="{FA7556BF-8A2A-4811-A43D-7B532DA5D363}" type="parTrans" cxnId="{FCF02E91-3545-4030-ABB8-0C8CB94962BC}">
      <dgm:prSet/>
      <dgm:spPr/>
      <dgm:t>
        <a:bodyPr/>
        <a:lstStyle/>
        <a:p>
          <a:endParaRPr lang="en-US" sz="2000"/>
        </a:p>
      </dgm:t>
    </dgm:pt>
    <dgm:pt modelId="{E2CB2411-108F-40B0-B5A1-148C9CC4E0FD}" type="sibTrans" cxnId="{FCF02E91-3545-4030-ABB8-0C8CB94962BC}">
      <dgm:prSet/>
      <dgm:spPr/>
      <dgm:t>
        <a:bodyPr/>
        <a:lstStyle/>
        <a:p>
          <a:endParaRPr lang="en-US" sz="2000"/>
        </a:p>
      </dgm:t>
    </dgm:pt>
    <dgm:pt modelId="{320BC68A-4D22-4278-B6A5-9B89A5841CD6}" type="pres">
      <dgm:prSet presAssocID="{26FC82E7-BDEA-4125-8C55-E3FBC1C8C08E}" presName="linear" presStyleCnt="0">
        <dgm:presLayoutVars>
          <dgm:dir/>
          <dgm:animLvl val="lvl"/>
          <dgm:resizeHandles val="exact"/>
        </dgm:presLayoutVars>
      </dgm:prSet>
      <dgm:spPr/>
      <dgm:t>
        <a:bodyPr/>
        <a:lstStyle/>
        <a:p>
          <a:endParaRPr lang="en-US"/>
        </a:p>
      </dgm:t>
    </dgm:pt>
    <dgm:pt modelId="{E45B7E6B-8F7C-4389-BF0A-4052098AEA91}" type="pres">
      <dgm:prSet presAssocID="{BBDDD003-1823-473E-8399-14FAA4B3B9EE}" presName="parentLin" presStyleCnt="0"/>
      <dgm:spPr/>
    </dgm:pt>
    <dgm:pt modelId="{65D839EA-77AA-4882-9286-DA04AB5C8AFB}" type="pres">
      <dgm:prSet presAssocID="{BBDDD003-1823-473E-8399-14FAA4B3B9EE}" presName="parentLeftMargin" presStyleLbl="node1" presStyleIdx="0" presStyleCnt="1"/>
      <dgm:spPr/>
      <dgm:t>
        <a:bodyPr/>
        <a:lstStyle/>
        <a:p>
          <a:endParaRPr lang="en-US"/>
        </a:p>
      </dgm:t>
    </dgm:pt>
    <dgm:pt modelId="{64C61A42-9B9D-4F97-843F-64DBBD7CDFA4}" type="pres">
      <dgm:prSet presAssocID="{BBDDD003-1823-473E-8399-14FAA4B3B9EE}" presName="parentText" presStyleLbl="node1" presStyleIdx="0" presStyleCnt="1">
        <dgm:presLayoutVars>
          <dgm:chMax val="0"/>
          <dgm:bulletEnabled val="1"/>
        </dgm:presLayoutVars>
      </dgm:prSet>
      <dgm:spPr/>
      <dgm:t>
        <a:bodyPr/>
        <a:lstStyle/>
        <a:p>
          <a:endParaRPr lang="en-US"/>
        </a:p>
      </dgm:t>
    </dgm:pt>
    <dgm:pt modelId="{13E9E559-67C6-4BBC-B4AE-CD3788AD04FD}" type="pres">
      <dgm:prSet presAssocID="{BBDDD003-1823-473E-8399-14FAA4B3B9EE}" presName="negativeSpace" presStyleCnt="0"/>
      <dgm:spPr/>
    </dgm:pt>
    <dgm:pt modelId="{FE5890F8-06E2-4FA3-85A1-8EDA1F6DAB47}" type="pres">
      <dgm:prSet presAssocID="{BBDDD003-1823-473E-8399-14FAA4B3B9EE}" presName="childText" presStyleLbl="conFgAcc1" presStyleIdx="0" presStyleCnt="1">
        <dgm:presLayoutVars>
          <dgm:bulletEnabled val="1"/>
        </dgm:presLayoutVars>
      </dgm:prSet>
      <dgm:spPr/>
      <dgm:t>
        <a:bodyPr/>
        <a:lstStyle/>
        <a:p>
          <a:endParaRPr lang="en-US"/>
        </a:p>
      </dgm:t>
    </dgm:pt>
  </dgm:ptLst>
  <dgm:cxnLst>
    <dgm:cxn modelId="{9A19491C-680C-4EF3-B9DE-EDB6752408DF}" type="presOf" srcId="{A13FE4F4-8F81-4A66-A0C8-1D0A154B6B26}" destId="{FE5890F8-06E2-4FA3-85A1-8EDA1F6DAB47}" srcOrd="0" destOrd="0" presId="urn:microsoft.com/office/officeart/2005/8/layout/list1"/>
    <dgm:cxn modelId="{41A25819-225D-4BD9-A6B8-25DA33477747}" type="presOf" srcId="{79B17325-0AF5-48DE-A82B-5245B526FC28}" destId="{FE5890F8-06E2-4FA3-85A1-8EDA1F6DAB47}" srcOrd="0" destOrd="3" presId="urn:microsoft.com/office/officeart/2005/8/layout/list1"/>
    <dgm:cxn modelId="{3990D33E-67BE-48EB-8EF9-2ABCAEB765DD}" type="presOf" srcId="{BBDDD003-1823-473E-8399-14FAA4B3B9EE}" destId="{64C61A42-9B9D-4F97-843F-64DBBD7CDFA4}" srcOrd="1" destOrd="0" presId="urn:microsoft.com/office/officeart/2005/8/layout/list1"/>
    <dgm:cxn modelId="{4734F85C-CBD2-4607-93C0-3F1037D36DCC}" type="presOf" srcId="{B3E54C42-CBF9-4EA0-98CA-6BEFB18576C5}" destId="{FE5890F8-06E2-4FA3-85A1-8EDA1F6DAB47}" srcOrd="0" destOrd="1" presId="urn:microsoft.com/office/officeart/2005/8/layout/list1"/>
    <dgm:cxn modelId="{13B47DF7-CA01-4A04-A2A4-D79740777126}" srcId="{BBDDD003-1823-473E-8399-14FAA4B3B9EE}" destId="{A13FE4F4-8F81-4A66-A0C8-1D0A154B6B26}" srcOrd="0" destOrd="0" parTransId="{92418420-1CBD-4E45-A2A4-28907FD93F42}" sibTransId="{96B824E2-33B7-4AB3-A1E4-F982BE1F9655}"/>
    <dgm:cxn modelId="{56C2827A-21E1-43BB-A0F5-D7337CD56144}" srcId="{26FC82E7-BDEA-4125-8C55-E3FBC1C8C08E}" destId="{BBDDD003-1823-473E-8399-14FAA4B3B9EE}" srcOrd="0" destOrd="0" parTransId="{4A535AB8-8A27-4DFF-BF74-5554C9CF0C58}" sibTransId="{ADF63B1F-F9B5-41B0-986E-4A5DB0122A62}"/>
    <dgm:cxn modelId="{D8E7F275-7996-4297-85C6-1C9E436FBFF2}" type="presOf" srcId="{26FC82E7-BDEA-4125-8C55-E3FBC1C8C08E}" destId="{320BC68A-4D22-4278-B6A5-9B89A5841CD6}" srcOrd="0" destOrd="0" presId="urn:microsoft.com/office/officeart/2005/8/layout/list1"/>
    <dgm:cxn modelId="{08B2C1C7-D0D4-4E65-B22D-E1D693BAF8F7}" type="presOf" srcId="{8AB760B2-5118-43A3-AE3A-041970452505}" destId="{FE5890F8-06E2-4FA3-85A1-8EDA1F6DAB47}" srcOrd="0" destOrd="2" presId="urn:microsoft.com/office/officeart/2005/8/layout/list1"/>
    <dgm:cxn modelId="{EDF85F36-2DF5-4299-8BC2-800A7B600837}" srcId="{BBDDD003-1823-473E-8399-14FAA4B3B9EE}" destId="{8AB760B2-5118-43A3-AE3A-041970452505}" srcOrd="2" destOrd="0" parTransId="{7E07323E-D92C-4FA5-B70E-CCD3B53125C4}" sibTransId="{5948C79C-29B9-4BC6-98BC-2C5D7604DDC0}"/>
    <dgm:cxn modelId="{FCF02E91-3545-4030-ABB8-0C8CB94962BC}" srcId="{BBDDD003-1823-473E-8399-14FAA4B3B9EE}" destId="{79B17325-0AF5-48DE-A82B-5245B526FC28}" srcOrd="3" destOrd="0" parTransId="{FA7556BF-8A2A-4811-A43D-7B532DA5D363}" sibTransId="{E2CB2411-108F-40B0-B5A1-148C9CC4E0FD}"/>
    <dgm:cxn modelId="{16DDE2EC-2635-4437-AFA1-77F509DB3F1E}" srcId="{BBDDD003-1823-473E-8399-14FAA4B3B9EE}" destId="{B3E54C42-CBF9-4EA0-98CA-6BEFB18576C5}" srcOrd="1" destOrd="0" parTransId="{B90BEE5C-0E0A-42D5-9503-ED2213B50639}" sibTransId="{E31B8BC2-95C8-440C-8157-9CF36AD76D31}"/>
    <dgm:cxn modelId="{5CE75C24-7EEF-4977-AC15-964047F5713B}" type="presOf" srcId="{BBDDD003-1823-473E-8399-14FAA4B3B9EE}" destId="{65D839EA-77AA-4882-9286-DA04AB5C8AFB}" srcOrd="0" destOrd="0" presId="urn:microsoft.com/office/officeart/2005/8/layout/list1"/>
    <dgm:cxn modelId="{AEE039CF-FDA6-4D17-A1F9-B510B7E74D20}" type="presParOf" srcId="{320BC68A-4D22-4278-B6A5-9B89A5841CD6}" destId="{E45B7E6B-8F7C-4389-BF0A-4052098AEA91}" srcOrd="0" destOrd="0" presId="urn:microsoft.com/office/officeart/2005/8/layout/list1"/>
    <dgm:cxn modelId="{72D44FEF-10B0-46C6-9589-4945B915526F}" type="presParOf" srcId="{E45B7E6B-8F7C-4389-BF0A-4052098AEA91}" destId="{65D839EA-77AA-4882-9286-DA04AB5C8AFB}" srcOrd="0" destOrd="0" presId="urn:microsoft.com/office/officeart/2005/8/layout/list1"/>
    <dgm:cxn modelId="{4D5787F9-7880-4133-92F0-F438D55C67BC}" type="presParOf" srcId="{E45B7E6B-8F7C-4389-BF0A-4052098AEA91}" destId="{64C61A42-9B9D-4F97-843F-64DBBD7CDFA4}" srcOrd="1" destOrd="0" presId="urn:microsoft.com/office/officeart/2005/8/layout/list1"/>
    <dgm:cxn modelId="{83B89808-2F60-454D-8785-1A469A2E6DD5}" type="presParOf" srcId="{320BC68A-4D22-4278-B6A5-9B89A5841CD6}" destId="{13E9E559-67C6-4BBC-B4AE-CD3788AD04FD}" srcOrd="1" destOrd="0" presId="urn:microsoft.com/office/officeart/2005/8/layout/list1"/>
    <dgm:cxn modelId="{CACF9BAB-E983-4669-A343-1D06A7278126}" type="presParOf" srcId="{320BC68A-4D22-4278-B6A5-9B89A5841CD6}" destId="{FE5890F8-06E2-4FA3-85A1-8EDA1F6DAB47}" srcOrd="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E87A08B-C961-4C45-931B-2FBE2FAED71B}"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E0BC2451-BB39-4538-8531-330F5C67ED2C}">
      <dgm:prSet phldrT="[Text]" custT="1"/>
      <dgm:spPr/>
      <dgm:t>
        <a:bodyPr/>
        <a:lstStyle/>
        <a:p>
          <a:r>
            <a:rPr lang="en-US" altLang="en-US" sz="2000">
              <a:latin typeface="+mn-lt"/>
            </a:rPr>
            <a:t>Poor communication with staff involved in patient care</a:t>
          </a:r>
          <a:endParaRPr lang="en-US" sz="2000" dirty="0"/>
        </a:p>
      </dgm:t>
    </dgm:pt>
    <dgm:pt modelId="{315675F3-D9E9-40B4-85F8-A61A938FE39A}" type="parTrans" cxnId="{82BB4209-732C-46B9-AECF-CF87EFCF3FAB}">
      <dgm:prSet/>
      <dgm:spPr/>
      <dgm:t>
        <a:bodyPr/>
        <a:lstStyle/>
        <a:p>
          <a:endParaRPr lang="en-US" sz="2000">
            <a:solidFill>
              <a:schemeClr val="tx2"/>
            </a:solidFill>
          </a:endParaRPr>
        </a:p>
      </dgm:t>
    </dgm:pt>
    <dgm:pt modelId="{9DD715F0-7A4B-42B9-ABF1-1A48E18EAC16}" type="sibTrans" cxnId="{82BB4209-732C-46B9-AECF-CF87EFCF3FAB}">
      <dgm:prSet/>
      <dgm:spPr/>
      <dgm:t>
        <a:bodyPr/>
        <a:lstStyle/>
        <a:p>
          <a:endParaRPr lang="en-US" sz="2000">
            <a:solidFill>
              <a:schemeClr val="tx2"/>
            </a:solidFill>
          </a:endParaRPr>
        </a:p>
      </dgm:t>
    </dgm:pt>
    <dgm:pt modelId="{A6022B47-3D18-4E69-8A60-D3B6E72A499E}">
      <dgm:prSet custT="1"/>
      <dgm:spPr/>
      <dgm:t>
        <a:bodyPr/>
        <a:lstStyle/>
        <a:p>
          <a:r>
            <a:rPr lang="en-US" altLang="en-US" sz="2000">
              <a:latin typeface="+mn-lt"/>
            </a:rPr>
            <a:t>Inadequate communication of pertinent clinical findings to radiologists and other providers</a:t>
          </a:r>
          <a:endParaRPr lang="en-US" altLang="en-US" sz="2000" dirty="0">
            <a:latin typeface="+mn-lt"/>
          </a:endParaRPr>
        </a:p>
      </dgm:t>
    </dgm:pt>
    <dgm:pt modelId="{7939A3AB-A59F-46CF-A286-B19659E7B1CF}" type="parTrans" cxnId="{A54D8767-E984-41F7-8FF9-A179B2336565}">
      <dgm:prSet/>
      <dgm:spPr/>
      <dgm:t>
        <a:bodyPr/>
        <a:lstStyle/>
        <a:p>
          <a:endParaRPr lang="en-US" sz="2000">
            <a:solidFill>
              <a:schemeClr val="tx2"/>
            </a:solidFill>
          </a:endParaRPr>
        </a:p>
      </dgm:t>
    </dgm:pt>
    <dgm:pt modelId="{CEE6AA30-AFC5-4D2E-B409-F787FFA531F5}" type="sibTrans" cxnId="{A54D8767-E984-41F7-8FF9-A179B2336565}">
      <dgm:prSet/>
      <dgm:spPr/>
      <dgm:t>
        <a:bodyPr/>
        <a:lstStyle/>
        <a:p>
          <a:endParaRPr lang="en-US" sz="2000">
            <a:solidFill>
              <a:schemeClr val="tx2"/>
            </a:solidFill>
          </a:endParaRPr>
        </a:p>
      </dgm:t>
    </dgm:pt>
    <dgm:pt modelId="{4F78AA0E-0E22-459C-84A7-1AB1D63B6739}">
      <dgm:prSet custT="1"/>
      <dgm:spPr/>
      <dgm:t>
        <a:bodyPr/>
        <a:lstStyle/>
        <a:p>
          <a:r>
            <a:rPr lang="en-US" altLang="en-US" sz="2000" dirty="0">
              <a:latin typeface="+mn-lt"/>
            </a:rPr>
            <a:t>Lack of or delayed reporting of critical values </a:t>
          </a:r>
        </a:p>
      </dgm:t>
    </dgm:pt>
    <dgm:pt modelId="{94CD55A7-E1E8-425D-AECD-8AF7ACC3352D}" type="parTrans" cxnId="{9B3BD54B-7542-4245-B38D-6FC7FF8357FD}">
      <dgm:prSet/>
      <dgm:spPr/>
      <dgm:t>
        <a:bodyPr/>
        <a:lstStyle/>
        <a:p>
          <a:endParaRPr lang="en-US" sz="2000">
            <a:solidFill>
              <a:schemeClr val="tx2"/>
            </a:solidFill>
          </a:endParaRPr>
        </a:p>
      </dgm:t>
    </dgm:pt>
    <dgm:pt modelId="{15A29E78-0490-4E0F-A852-0CA6785B9E43}" type="sibTrans" cxnId="{9B3BD54B-7542-4245-B38D-6FC7FF8357FD}">
      <dgm:prSet/>
      <dgm:spPr/>
      <dgm:t>
        <a:bodyPr/>
        <a:lstStyle/>
        <a:p>
          <a:endParaRPr lang="en-US" sz="2000">
            <a:solidFill>
              <a:schemeClr val="tx2"/>
            </a:solidFill>
          </a:endParaRPr>
        </a:p>
      </dgm:t>
    </dgm:pt>
    <dgm:pt modelId="{8B6D1422-B92D-45D4-B0FF-D171F944FACB}">
      <dgm:prSet custT="1"/>
      <dgm:spPr/>
      <dgm:t>
        <a:bodyPr/>
        <a:lstStyle/>
        <a:p>
          <a:r>
            <a:rPr lang="en-US" altLang="en-US" sz="2000">
              <a:latin typeface="+mn-lt"/>
            </a:rPr>
            <a:t>Physician/staff distractions or lack of teamwork</a:t>
          </a:r>
          <a:endParaRPr lang="en-US" altLang="en-US" sz="2000" dirty="0">
            <a:latin typeface="+mn-lt"/>
          </a:endParaRPr>
        </a:p>
      </dgm:t>
    </dgm:pt>
    <dgm:pt modelId="{D92F8094-35FB-4EC3-9F88-873467C410BB}" type="parTrans" cxnId="{B57C2925-56FC-475E-BED1-32C8FEF1E55A}">
      <dgm:prSet/>
      <dgm:spPr/>
      <dgm:t>
        <a:bodyPr/>
        <a:lstStyle/>
        <a:p>
          <a:endParaRPr lang="en-US" sz="2000">
            <a:solidFill>
              <a:schemeClr val="tx2"/>
            </a:solidFill>
          </a:endParaRPr>
        </a:p>
      </dgm:t>
    </dgm:pt>
    <dgm:pt modelId="{5DF0F620-ACFC-4323-B151-D03ECFB2295B}" type="sibTrans" cxnId="{B57C2925-56FC-475E-BED1-32C8FEF1E55A}">
      <dgm:prSet/>
      <dgm:spPr/>
      <dgm:t>
        <a:bodyPr/>
        <a:lstStyle/>
        <a:p>
          <a:endParaRPr lang="en-US" sz="2000">
            <a:solidFill>
              <a:schemeClr val="tx2"/>
            </a:solidFill>
          </a:endParaRPr>
        </a:p>
      </dgm:t>
    </dgm:pt>
    <dgm:pt modelId="{9EF34E04-9B63-4859-B53C-D848B5823475}">
      <dgm:prSet custT="1"/>
      <dgm:spPr/>
      <dgm:t>
        <a:bodyPr/>
        <a:lstStyle/>
        <a:p>
          <a:r>
            <a:rPr lang="en-US" altLang="en-US" sz="2000">
              <a:latin typeface="+mn-lt"/>
            </a:rPr>
            <a:t>Care across multiple locations/providers</a:t>
          </a:r>
          <a:endParaRPr lang="en-US" altLang="en-US" sz="2000" dirty="0">
            <a:latin typeface="+mn-lt"/>
          </a:endParaRPr>
        </a:p>
      </dgm:t>
    </dgm:pt>
    <dgm:pt modelId="{D1F92E6B-C6D7-4B49-8BA4-61BAA56D8B6D}" type="parTrans" cxnId="{7547E124-26D4-4B1E-BAEA-7057CD984CEA}">
      <dgm:prSet/>
      <dgm:spPr/>
      <dgm:t>
        <a:bodyPr/>
        <a:lstStyle/>
        <a:p>
          <a:endParaRPr lang="en-US" sz="2000">
            <a:solidFill>
              <a:schemeClr val="tx2"/>
            </a:solidFill>
          </a:endParaRPr>
        </a:p>
      </dgm:t>
    </dgm:pt>
    <dgm:pt modelId="{B5658EBB-D500-4355-A5D3-A14F9EA47F4B}" type="sibTrans" cxnId="{7547E124-26D4-4B1E-BAEA-7057CD984CEA}">
      <dgm:prSet/>
      <dgm:spPr/>
      <dgm:t>
        <a:bodyPr/>
        <a:lstStyle/>
        <a:p>
          <a:endParaRPr lang="en-US" sz="2000">
            <a:solidFill>
              <a:schemeClr val="tx2"/>
            </a:solidFill>
          </a:endParaRPr>
        </a:p>
      </dgm:t>
    </dgm:pt>
    <dgm:pt modelId="{630EE600-9AA8-4164-95E6-CAB438766591}">
      <dgm:prSet custT="1"/>
      <dgm:spPr/>
      <dgm:t>
        <a:bodyPr/>
        <a:lstStyle/>
        <a:p>
          <a:r>
            <a:rPr lang="en-US" altLang="en-US" sz="2000">
              <a:latin typeface="+mn-lt"/>
            </a:rPr>
            <a:t>Health literacy issues</a:t>
          </a:r>
          <a:endParaRPr lang="en-US" altLang="en-US" sz="2000" dirty="0">
            <a:latin typeface="+mn-lt"/>
          </a:endParaRPr>
        </a:p>
      </dgm:t>
    </dgm:pt>
    <dgm:pt modelId="{D258994F-E465-43AE-92F2-D59061A95E39}" type="parTrans" cxnId="{186B3E8E-337F-4443-9FDA-C09B212A9439}">
      <dgm:prSet/>
      <dgm:spPr/>
      <dgm:t>
        <a:bodyPr/>
        <a:lstStyle/>
        <a:p>
          <a:endParaRPr lang="en-US" sz="2000">
            <a:solidFill>
              <a:schemeClr val="tx2"/>
            </a:solidFill>
          </a:endParaRPr>
        </a:p>
      </dgm:t>
    </dgm:pt>
    <dgm:pt modelId="{DA9B2379-96E4-4E89-A39F-FCE081C8AA88}" type="sibTrans" cxnId="{186B3E8E-337F-4443-9FDA-C09B212A9439}">
      <dgm:prSet/>
      <dgm:spPr/>
      <dgm:t>
        <a:bodyPr/>
        <a:lstStyle/>
        <a:p>
          <a:endParaRPr lang="en-US" sz="2000">
            <a:solidFill>
              <a:schemeClr val="tx2"/>
            </a:solidFill>
          </a:endParaRPr>
        </a:p>
      </dgm:t>
    </dgm:pt>
    <dgm:pt modelId="{EC59AE01-2D92-4542-A531-3F74488E7C07}" type="pres">
      <dgm:prSet presAssocID="{8E87A08B-C961-4C45-931B-2FBE2FAED71B}" presName="linear" presStyleCnt="0">
        <dgm:presLayoutVars>
          <dgm:animLvl val="lvl"/>
          <dgm:resizeHandles val="exact"/>
        </dgm:presLayoutVars>
      </dgm:prSet>
      <dgm:spPr/>
      <dgm:t>
        <a:bodyPr/>
        <a:lstStyle/>
        <a:p>
          <a:endParaRPr lang="en-US"/>
        </a:p>
      </dgm:t>
    </dgm:pt>
    <dgm:pt modelId="{E01C4DA3-20AA-4AE4-8F6C-5C8644C2D7FA}" type="pres">
      <dgm:prSet presAssocID="{E0BC2451-BB39-4538-8531-330F5C67ED2C}" presName="parentText" presStyleLbl="node1" presStyleIdx="0" presStyleCnt="6">
        <dgm:presLayoutVars>
          <dgm:chMax val="0"/>
          <dgm:bulletEnabled val="1"/>
        </dgm:presLayoutVars>
      </dgm:prSet>
      <dgm:spPr/>
      <dgm:t>
        <a:bodyPr/>
        <a:lstStyle/>
        <a:p>
          <a:endParaRPr lang="en-US"/>
        </a:p>
      </dgm:t>
    </dgm:pt>
    <dgm:pt modelId="{E8C15111-856A-49A0-91A7-14BF657733CF}" type="pres">
      <dgm:prSet presAssocID="{9DD715F0-7A4B-42B9-ABF1-1A48E18EAC16}" presName="spacer" presStyleCnt="0"/>
      <dgm:spPr/>
    </dgm:pt>
    <dgm:pt modelId="{05B2AF20-4967-402F-A298-AB7990DC6377}" type="pres">
      <dgm:prSet presAssocID="{A6022B47-3D18-4E69-8A60-D3B6E72A499E}" presName="parentText" presStyleLbl="node1" presStyleIdx="1" presStyleCnt="6">
        <dgm:presLayoutVars>
          <dgm:chMax val="0"/>
          <dgm:bulletEnabled val="1"/>
        </dgm:presLayoutVars>
      </dgm:prSet>
      <dgm:spPr/>
      <dgm:t>
        <a:bodyPr/>
        <a:lstStyle/>
        <a:p>
          <a:endParaRPr lang="en-US"/>
        </a:p>
      </dgm:t>
    </dgm:pt>
    <dgm:pt modelId="{09051E94-5CFC-4DA4-9D34-70016E6CABCC}" type="pres">
      <dgm:prSet presAssocID="{CEE6AA30-AFC5-4D2E-B409-F787FFA531F5}" presName="spacer" presStyleCnt="0"/>
      <dgm:spPr/>
    </dgm:pt>
    <dgm:pt modelId="{19ACE7DD-DE79-485A-92E7-1A911AD87BF5}" type="pres">
      <dgm:prSet presAssocID="{4F78AA0E-0E22-459C-84A7-1AB1D63B6739}" presName="parentText" presStyleLbl="node1" presStyleIdx="2" presStyleCnt="6">
        <dgm:presLayoutVars>
          <dgm:chMax val="0"/>
          <dgm:bulletEnabled val="1"/>
        </dgm:presLayoutVars>
      </dgm:prSet>
      <dgm:spPr/>
      <dgm:t>
        <a:bodyPr/>
        <a:lstStyle/>
        <a:p>
          <a:endParaRPr lang="en-US"/>
        </a:p>
      </dgm:t>
    </dgm:pt>
    <dgm:pt modelId="{92A26D52-5D27-4F5F-AA54-F11BB2BC1A7D}" type="pres">
      <dgm:prSet presAssocID="{15A29E78-0490-4E0F-A852-0CA6785B9E43}" presName="spacer" presStyleCnt="0"/>
      <dgm:spPr/>
    </dgm:pt>
    <dgm:pt modelId="{FC523234-9C19-4CED-A355-15DAF3EA3C26}" type="pres">
      <dgm:prSet presAssocID="{8B6D1422-B92D-45D4-B0FF-D171F944FACB}" presName="parentText" presStyleLbl="node1" presStyleIdx="3" presStyleCnt="6">
        <dgm:presLayoutVars>
          <dgm:chMax val="0"/>
          <dgm:bulletEnabled val="1"/>
        </dgm:presLayoutVars>
      </dgm:prSet>
      <dgm:spPr/>
      <dgm:t>
        <a:bodyPr/>
        <a:lstStyle/>
        <a:p>
          <a:endParaRPr lang="en-US"/>
        </a:p>
      </dgm:t>
    </dgm:pt>
    <dgm:pt modelId="{3AF6B5FA-C7DA-4184-A78A-B9345141C52A}" type="pres">
      <dgm:prSet presAssocID="{5DF0F620-ACFC-4323-B151-D03ECFB2295B}" presName="spacer" presStyleCnt="0"/>
      <dgm:spPr/>
    </dgm:pt>
    <dgm:pt modelId="{F9FED7CF-9205-4A76-9B19-F318527F05B6}" type="pres">
      <dgm:prSet presAssocID="{9EF34E04-9B63-4859-B53C-D848B5823475}" presName="parentText" presStyleLbl="node1" presStyleIdx="4" presStyleCnt="6">
        <dgm:presLayoutVars>
          <dgm:chMax val="0"/>
          <dgm:bulletEnabled val="1"/>
        </dgm:presLayoutVars>
      </dgm:prSet>
      <dgm:spPr/>
      <dgm:t>
        <a:bodyPr/>
        <a:lstStyle/>
        <a:p>
          <a:endParaRPr lang="en-US"/>
        </a:p>
      </dgm:t>
    </dgm:pt>
    <dgm:pt modelId="{76489080-1462-4CE3-9CA9-14616DA59ADC}" type="pres">
      <dgm:prSet presAssocID="{B5658EBB-D500-4355-A5D3-A14F9EA47F4B}" presName="spacer" presStyleCnt="0"/>
      <dgm:spPr/>
    </dgm:pt>
    <dgm:pt modelId="{4F08A0ED-B7C5-4113-B0AB-C6240FCE6BA1}" type="pres">
      <dgm:prSet presAssocID="{630EE600-9AA8-4164-95E6-CAB438766591}" presName="parentText" presStyleLbl="node1" presStyleIdx="5" presStyleCnt="6">
        <dgm:presLayoutVars>
          <dgm:chMax val="0"/>
          <dgm:bulletEnabled val="1"/>
        </dgm:presLayoutVars>
      </dgm:prSet>
      <dgm:spPr/>
      <dgm:t>
        <a:bodyPr/>
        <a:lstStyle/>
        <a:p>
          <a:endParaRPr lang="en-US"/>
        </a:p>
      </dgm:t>
    </dgm:pt>
  </dgm:ptLst>
  <dgm:cxnLst>
    <dgm:cxn modelId="{1EBB2600-4191-46AB-8716-6600FED0FE94}" type="presOf" srcId="{8B6D1422-B92D-45D4-B0FF-D171F944FACB}" destId="{FC523234-9C19-4CED-A355-15DAF3EA3C26}" srcOrd="0" destOrd="0" presId="urn:microsoft.com/office/officeart/2005/8/layout/vList2"/>
    <dgm:cxn modelId="{7547E124-26D4-4B1E-BAEA-7057CD984CEA}" srcId="{8E87A08B-C961-4C45-931B-2FBE2FAED71B}" destId="{9EF34E04-9B63-4859-B53C-D848B5823475}" srcOrd="4" destOrd="0" parTransId="{D1F92E6B-C6D7-4B49-8BA4-61BAA56D8B6D}" sibTransId="{B5658EBB-D500-4355-A5D3-A14F9EA47F4B}"/>
    <dgm:cxn modelId="{292EA002-FB8A-4025-8017-19F3904DF587}" type="presOf" srcId="{E0BC2451-BB39-4538-8531-330F5C67ED2C}" destId="{E01C4DA3-20AA-4AE4-8F6C-5C8644C2D7FA}" srcOrd="0" destOrd="0" presId="urn:microsoft.com/office/officeart/2005/8/layout/vList2"/>
    <dgm:cxn modelId="{4AE5531A-F9B5-4557-A552-4D1DE3E43B04}" type="presOf" srcId="{4F78AA0E-0E22-459C-84A7-1AB1D63B6739}" destId="{19ACE7DD-DE79-485A-92E7-1A911AD87BF5}" srcOrd="0" destOrd="0" presId="urn:microsoft.com/office/officeart/2005/8/layout/vList2"/>
    <dgm:cxn modelId="{82BB4209-732C-46B9-AECF-CF87EFCF3FAB}" srcId="{8E87A08B-C961-4C45-931B-2FBE2FAED71B}" destId="{E0BC2451-BB39-4538-8531-330F5C67ED2C}" srcOrd="0" destOrd="0" parTransId="{315675F3-D9E9-40B4-85F8-A61A938FE39A}" sibTransId="{9DD715F0-7A4B-42B9-ABF1-1A48E18EAC16}"/>
    <dgm:cxn modelId="{E5C0EC32-181B-4C33-B071-7A9398C75510}" type="presOf" srcId="{9EF34E04-9B63-4859-B53C-D848B5823475}" destId="{F9FED7CF-9205-4A76-9B19-F318527F05B6}" srcOrd="0" destOrd="0" presId="urn:microsoft.com/office/officeart/2005/8/layout/vList2"/>
    <dgm:cxn modelId="{59982D54-9B85-4DFB-B27A-98CD8A623E12}" type="presOf" srcId="{A6022B47-3D18-4E69-8A60-D3B6E72A499E}" destId="{05B2AF20-4967-402F-A298-AB7990DC6377}" srcOrd="0" destOrd="0" presId="urn:microsoft.com/office/officeart/2005/8/layout/vList2"/>
    <dgm:cxn modelId="{9B3BD54B-7542-4245-B38D-6FC7FF8357FD}" srcId="{8E87A08B-C961-4C45-931B-2FBE2FAED71B}" destId="{4F78AA0E-0E22-459C-84A7-1AB1D63B6739}" srcOrd="2" destOrd="0" parTransId="{94CD55A7-E1E8-425D-AECD-8AF7ACC3352D}" sibTransId="{15A29E78-0490-4E0F-A852-0CA6785B9E43}"/>
    <dgm:cxn modelId="{A54D8767-E984-41F7-8FF9-A179B2336565}" srcId="{8E87A08B-C961-4C45-931B-2FBE2FAED71B}" destId="{A6022B47-3D18-4E69-8A60-D3B6E72A499E}" srcOrd="1" destOrd="0" parTransId="{7939A3AB-A59F-46CF-A286-B19659E7B1CF}" sibTransId="{CEE6AA30-AFC5-4D2E-B409-F787FFA531F5}"/>
    <dgm:cxn modelId="{B57C2925-56FC-475E-BED1-32C8FEF1E55A}" srcId="{8E87A08B-C961-4C45-931B-2FBE2FAED71B}" destId="{8B6D1422-B92D-45D4-B0FF-D171F944FACB}" srcOrd="3" destOrd="0" parTransId="{D92F8094-35FB-4EC3-9F88-873467C410BB}" sibTransId="{5DF0F620-ACFC-4323-B151-D03ECFB2295B}"/>
    <dgm:cxn modelId="{F4C96B41-58A2-4938-BD73-46119664C13F}" type="presOf" srcId="{8E87A08B-C961-4C45-931B-2FBE2FAED71B}" destId="{EC59AE01-2D92-4542-A531-3F74488E7C07}" srcOrd="0" destOrd="0" presId="urn:microsoft.com/office/officeart/2005/8/layout/vList2"/>
    <dgm:cxn modelId="{5F4B8A7F-7D76-48B2-966C-F8349FE33DA0}" type="presOf" srcId="{630EE600-9AA8-4164-95E6-CAB438766591}" destId="{4F08A0ED-B7C5-4113-B0AB-C6240FCE6BA1}" srcOrd="0" destOrd="0" presId="urn:microsoft.com/office/officeart/2005/8/layout/vList2"/>
    <dgm:cxn modelId="{186B3E8E-337F-4443-9FDA-C09B212A9439}" srcId="{8E87A08B-C961-4C45-931B-2FBE2FAED71B}" destId="{630EE600-9AA8-4164-95E6-CAB438766591}" srcOrd="5" destOrd="0" parTransId="{D258994F-E465-43AE-92F2-D59061A95E39}" sibTransId="{DA9B2379-96E4-4E89-A39F-FCE081C8AA88}"/>
    <dgm:cxn modelId="{005FCE22-79CA-4C48-99B4-B723C7061628}" type="presParOf" srcId="{EC59AE01-2D92-4542-A531-3F74488E7C07}" destId="{E01C4DA3-20AA-4AE4-8F6C-5C8644C2D7FA}" srcOrd="0" destOrd="0" presId="urn:microsoft.com/office/officeart/2005/8/layout/vList2"/>
    <dgm:cxn modelId="{0DF81CB8-2A2C-49B6-9D60-314D81032F73}" type="presParOf" srcId="{EC59AE01-2D92-4542-A531-3F74488E7C07}" destId="{E8C15111-856A-49A0-91A7-14BF657733CF}" srcOrd="1" destOrd="0" presId="urn:microsoft.com/office/officeart/2005/8/layout/vList2"/>
    <dgm:cxn modelId="{BFC994F6-7558-4B96-91AA-EC56468DC577}" type="presParOf" srcId="{EC59AE01-2D92-4542-A531-3F74488E7C07}" destId="{05B2AF20-4967-402F-A298-AB7990DC6377}" srcOrd="2" destOrd="0" presId="urn:microsoft.com/office/officeart/2005/8/layout/vList2"/>
    <dgm:cxn modelId="{0A159ACC-B7EC-46F0-99B5-35B657483AB7}" type="presParOf" srcId="{EC59AE01-2D92-4542-A531-3F74488E7C07}" destId="{09051E94-5CFC-4DA4-9D34-70016E6CABCC}" srcOrd="3" destOrd="0" presId="urn:microsoft.com/office/officeart/2005/8/layout/vList2"/>
    <dgm:cxn modelId="{3C51A6CD-AD67-44F8-B3D7-2365E35828A3}" type="presParOf" srcId="{EC59AE01-2D92-4542-A531-3F74488E7C07}" destId="{19ACE7DD-DE79-485A-92E7-1A911AD87BF5}" srcOrd="4" destOrd="0" presId="urn:microsoft.com/office/officeart/2005/8/layout/vList2"/>
    <dgm:cxn modelId="{49B04F3A-43EE-431A-93DA-2F08D4A6D507}" type="presParOf" srcId="{EC59AE01-2D92-4542-A531-3F74488E7C07}" destId="{92A26D52-5D27-4F5F-AA54-F11BB2BC1A7D}" srcOrd="5" destOrd="0" presId="urn:microsoft.com/office/officeart/2005/8/layout/vList2"/>
    <dgm:cxn modelId="{40E39CEA-A235-4ED3-9443-AC1D8152287E}" type="presParOf" srcId="{EC59AE01-2D92-4542-A531-3F74488E7C07}" destId="{FC523234-9C19-4CED-A355-15DAF3EA3C26}" srcOrd="6" destOrd="0" presId="urn:microsoft.com/office/officeart/2005/8/layout/vList2"/>
    <dgm:cxn modelId="{12C7208D-2B02-4E3F-A867-6463886BD55C}" type="presParOf" srcId="{EC59AE01-2D92-4542-A531-3F74488E7C07}" destId="{3AF6B5FA-C7DA-4184-A78A-B9345141C52A}" srcOrd="7" destOrd="0" presId="urn:microsoft.com/office/officeart/2005/8/layout/vList2"/>
    <dgm:cxn modelId="{F9A9223E-B407-43A0-B812-A01D90A6A498}" type="presParOf" srcId="{EC59AE01-2D92-4542-A531-3F74488E7C07}" destId="{F9FED7CF-9205-4A76-9B19-F318527F05B6}" srcOrd="8" destOrd="0" presId="urn:microsoft.com/office/officeart/2005/8/layout/vList2"/>
    <dgm:cxn modelId="{8DDEA82D-9D41-4356-A82E-E91100BC58A9}" type="presParOf" srcId="{EC59AE01-2D92-4542-A531-3F74488E7C07}" destId="{76489080-1462-4CE3-9CA9-14616DA59ADC}" srcOrd="9" destOrd="0" presId="urn:microsoft.com/office/officeart/2005/8/layout/vList2"/>
    <dgm:cxn modelId="{43C8AF5D-CAB0-4D80-B0F8-63EDC5E9AAE1}" type="presParOf" srcId="{EC59AE01-2D92-4542-A531-3F74488E7C07}" destId="{4F08A0ED-B7C5-4113-B0AB-C6240FCE6BA1}" srcOrd="10"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E3E983F-941C-486D-A197-FD567310A9DB}"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en-US"/>
        </a:p>
      </dgm:t>
    </dgm:pt>
    <dgm:pt modelId="{9712993F-902A-4644-91E9-7BCB3E39FC1B}">
      <dgm:prSet custT="1"/>
      <dgm:spPr/>
      <dgm:t>
        <a:bodyPr/>
        <a:lstStyle/>
        <a:p>
          <a:pPr rtl="0"/>
          <a:r>
            <a:rPr lang="en-US" sz="2400"/>
            <a:t>Appropriate</a:t>
          </a:r>
          <a:endParaRPr lang="en-US" sz="2400" dirty="0"/>
        </a:p>
      </dgm:t>
    </dgm:pt>
    <dgm:pt modelId="{D56322C8-9897-435D-9D2F-E223FB297F0D}" type="parTrans" cxnId="{2B1740C3-5119-4F04-8466-21C1AB249C3A}">
      <dgm:prSet/>
      <dgm:spPr/>
      <dgm:t>
        <a:bodyPr/>
        <a:lstStyle/>
        <a:p>
          <a:endParaRPr lang="en-US" sz="2400"/>
        </a:p>
      </dgm:t>
    </dgm:pt>
    <dgm:pt modelId="{58A7A150-2A48-4061-A6CE-92F29E76F112}" type="sibTrans" cxnId="{2B1740C3-5119-4F04-8466-21C1AB249C3A}">
      <dgm:prSet/>
      <dgm:spPr/>
      <dgm:t>
        <a:bodyPr/>
        <a:lstStyle/>
        <a:p>
          <a:endParaRPr lang="en-US" sz="2400"/>
        </a:p>
      </dgm:t>
    </dgm:pt>
    <dgm:pt modelId="{985107A7-2EB5-4437-8D1A-C2AF462B4CB9}">
      <dgm:prSet custT="1"/>
      <dgm:spPr/>
      <dgm:t>
        <a:bodyPr/>
        <a:lstStyle/>
        <a:p>
          <a:pPr rtl="0">
            <a:lnSpc>
              <a:spcPct val="100000"/>
            </a:lnSpc>
            <a:spcBef>
              <a:spcPts val="600"/>
            </a:spcBef>
            <a:spcAft>
              <a:spcPts val="1200"/>
            </a:spcAft>
          </a:pPr>
          <a:r>
            <a:rPr lang="en-US" sz="2400">
              <a:solidFill>
                <a:schemeClr val="tx2"/>
              </a:solidFill>
            </a:rPr>
            <a:t>Encourages clear communication</a:t>
          </a:r>
          <a:endParaRPr lang="en-US" sz="2400" dirty="0">
            <a:solidFill>
              <a:schemeClr val="tx2"/>
            </a:solidFill>
          </a:endParaRPr>
        </a:p>
      </dgm:t>
    </dgm:pt>
    <dgm:pt modelId="{0FCB5636-C00F-428A-913B-38A027B66005}" type="parTrans" cxnId="{4C27D86C-EA39-4B83-9BC9-F611BC994DE6}">
      <dgm:prSet/>
      <dgm:spPr/>
      <dgm:t>
        <a:bodyPr/>
        <a:lstStyle/>
        <a:p>
          <a:endParaRPr lang="en-US" sz="2400"/>
        </a:p>
      </dgm:t>
    </dgm:pt>
    <dgm:pt modelId="{B6202B16-F43E-4B35-B718-05023DB81E4E}" type="sibTrans" cxnId="{4C27D86C-EA39-4B83-9BC9-F611BC994DE6}">
      <dgm:prSet/>
      <dgm:spPr/>
      <dgm:t>
        <a:bodyPr/>
        <a:lstStyle/>
        <a:p>
          <a:endParaRPr lang="en-US" sz="2400"/>
        </a:p>
      </dgm:t>
    </dgm:pt>
    <dgm:pt modelId="{80B4FF69-2830-420B-91D3-A645953685DE}">
      <dgm:prSet custT="1"/>
      <dgm:spPr/>
      <dgm:t>
        <a:bodyPr/>
        <a:lstStyle/>
        <a:p>
          <a:pPr rtl="0"/>
          <a:r>
            <a:rPr lang="en-US" sz="2400"/>
            <a:t>Inappropriate</a:t>
          </a:r>
          <a:endParaRPr lang="en-US" sz="2400" dirty="0"/>
        </a:p>
      </dgm:t>
    </dgm:pt>
    <dgm:pt modelId="{CD35E365-1ECC-44A3-8036-6D51AFA642E2}" type="parTrans" cxnId="{BDC47756-FEC7-4F2A-B5BE-C859AB33E50F}">
      <dgm:prSet/>
      <dgm:spPr/>
      <dgm:t>
        <a:bodyPr/>
        <a:lstStyle/>
        <a:p>
          <a:endParaRPr lang="en-US" sz="2400"/>
        </a:p>
      </dgm:t>
    </dgm:pt>
    <dgm:pt modelId="{30546D1D-DA54-47BB-BB71-13FB3804551C}" type="sibTrans" cxnId="{BDC47756-FEC7-4F2A-B5BE-C859AB33E50F}">
      <dgm:prSet/>
      <dgm:spPr/>
      <dgm:t>
        <a:bodyPr/>
        <a:lstStyle/>
        <a:p>
          <a:endParaRPr lang="en-US" sz="2400"/>
        </a:p>
      </dgm:t>
    </dgm:pt>
    <dgm:pt modelId="{BE915125-75E3-4BC0-8C0C-BED134CF1FFD}">
      <dgm:prSet custT="1"/>
      <dgm:spPr/>
      <dgm:t>
        <a:bodyPr/>
        <a:lstStyle/>
        <a:p>
          <a:pPr rtl="0">
            <a:lnSpc>
              <a:spcPct val="100000"/>
            </a:lnSpc>
            <a:spcBef>
              <a:spcPts val="600"/>
            </a:spcBef>
            <a:spcAft>
              <a:spcPts val="1200"/>
            </a:spcAft>
          </a:pPr>
          <a:r>
            <a:rPr lang="en-US" sz="2400" dirty="0">
              <a:solidFill>
                <a:schemeClr val="tx2"/>
              </a:solidFill>
            </a:rPr>
            <a:t>Belittles or berates others</a:t>
          </a:r>
        </a:p>
      </dgm:t>
    </dgm:pt>
    <dgm:pt modelId="{F8D20B6E-1DFD-47C7-9D33-0DAA74C19B60}" type="parTrans" cxnId="{5EA76C4E-8F38-45C6-9934-D81DF73CAEAF}">
      <dgm:prSet/>
      <dgm:spPr/>
      <dgm:t>
        <a:bodyPr/>
        <a:lstStyle/>
        <a:p>
          <a:endParaRPr lang="en-US" sz="2400"/>
        </a:p>
      </dgm:t>
    </dgm:pt>
    <dgm:pt modelId="{8451823C-F8B1-49BE-BEDC-D0BF62D2D722}" type="sibTrans" cxnId="{5EA76C4E-8F38-45C6-9934-D81DF73CAEAF}">
      <dgm:prSet/>
      <dgm:spPr/>
      <dgm:t>
        <a:bodyPr/>
        <a:lstStyle/>
        <a:p>
          <a:endParaRPr lang="en-US" sz="2400"/>
        </a:p>
      </dgm:t>
    </dgm:pt>
    <dgm:pt modelId="{8D7DFFF9-6CAC-46BF-B24C-665C19F79C4A}">
      <dgm:prSet custT="1"/>
      <dgm:spPr/>
      <dgm:t>
        <a:bodyPr/>
        <a:lstStyle/>
        <a:p>
          <a:pPr rtl="0"/>
          <a:r>
            <a:rPr lang="en-US" sz="2400"/>
            <a:t>Disruptive</a:t>
          </a:r>
          <a:endParaRPr lang="en-US" sz="2400" dirty="0"/>
        </a:p>
      </dgm:t>
    </dgm:pt>
    <dgm:pt modelId="{251B4469-01AC-40B3-8F63-6CA708CE2D1C}" type="parTrans" cxnId="{EA2600F0-FB59-42F2-AAF6-ABC166A2D21A}">
      <dgm:prSet/>
      <dgm:spPr/>
      <dgm:t>
        <a:bodyPr/>
        <a:lstStyle/>
        <a:p>
          <a:endParaRPr lang="en-US" sz="2400"/>
        </a:p>
      </dgm:t>
    </dgm:pt>
    <dgm:pt modelId="{09C0BB36-1892-4850-9540-EFB759766BF0}" type="sibTrans" cxnId="{EA2600F0-FB59-42F2-AAF6-ABC166A2D21A}">
      <dgm:prSet/>
      <dgm:spPr/>
      <dgm:t>
        <a:bodyPr/>
        <a:lstStyle/>
        <a:p>
          <a:endParaRPr lang="en-US" sz="2400"/>
        </a:p>
      </dgm:t>
    </dgm:pt>
    <dgm:pt modelId="{9AD74992-FAE5-41A5-A74E-DB37AF756799}">
      <dgm:prSet custT="1"/>
      <dgm:spPr/>
      <dgm:t>
        <a:bodyPr/>
        <a:lstStyle/>
        <a:p>
          <a:pPr rtl="0">
            <a:lnSpc>
              <a:spcPct val="100000"/>
            </a:lnSpc>
            <a:spcBef>
              <a:spcPts val="600"/>
            </a:spcBef>
            <a:spcAft>
              <a:spcPts val="1200"/>
            </a:spcAft>
          </a:pPr>
          <a:r>
            <a:rPr lang="en-US" sz="2400" dirty="0">
              <a:solidFill>
                <a:schemeClr val="tx2"/>
              </a:solidFill>
            </a:rPr>
            <a:t>Threats of violence or retribution</a:t>
          </a:r>
        </a:p>
      </dgm:t>
    </dgm:pt>
    <dgm:pt modelId="{F9D185F3-4795-4BFA-AB4B-62710ED90991}" type="parTrans" cxnId="{43475CD5-DFF1-4373-BE51-9A3A38746D25}">
      <dgm:prSet/>
      <dgm:spPr/>
      <dgm:t>
        <a:bodyPr/>
        <a:lstStyle/>
        <a:p>
          <a:endParaRPr lang="en-US" sz="2400"/>
        </a:p>
      </dgm:t>
    </dgm:pt>
    <dgm:pt modelId="{DB5E1AFC-2A9B-48FE-8FF5-7A4728FD0779}" type="sibTrans" cxnId="{43475CD5-DFF1-4373-BE51-9A3A38746D25}">
      <dgm:prSet/>
      <dgm:spPr/>
      <dgm:t>
        <a:bodyPr/>
        <a:lstStyle/>
        <a:p>
          <a:endParaRPr lang="en-US" sz="2400"/>
        </a:p>
      </dgm:t>
    </dgm:pt>
    <dgm:pt modelId="{4BF70465-0C0B-4AA8-839B-46341964E0D5}">
      <dgm:prSet custT="1"/>
      <dgm:spPr/>
      <dgm:t>
        <a:bodyPr/>
        <a:lstStyle/>
        <a:p>
          <a:pPr>
            <a:lnSpc>
              <a:spcPct val="100000"/>
            </a:lnSpc>
            <a:spcBef>
              <a:spcPts val="600"/>
            </a:spcBef>
            <a:spcAft>
              <a:spcPts val="1200"/>
            </a:spcAft>
          </a:pPr>
          <a:r>
            <a:rPr lang="en-US" sz="2400" dirty="0">
              <a:solidFill>
                <a:schemeClr val="tx2"/>
              </a:solidFill>
            </a:rPr>
            <a:t>Is part of team problem-solving</a:t>
          </a:r>
        </a:p>
      </dgm:t>
    </dgm:pt>
    <dgm:pt modelId="{66F3C186-1CBA-4809-9F57-4949FD6F5176}" type="parTrans" cxnId="{5E2A2532-CD0D-4FC5-9E73-AA26C4E00AB0}">
      <dgm:prSet/>
      <dgm:spPr/>
      <dgm:t>
        <a:bodyPr/>
        <a:lstStyle/>
        <a:p>
          <a:endParaRPr lang="en-US" sz="2400"/>
        </a:p>
      </dgm:t>
    </dgm:pt>
    <dgm:pt modelId="{F9A06D63-1706-4E35-BF0F-010314C9C8C8}" type="sibTrans" cxnId="{5E2A2532-CD0D-4FC5-9E73-AA26C4E00AB0}">
      <dgm:prSet/>
      <dgm:spPr/>
      <dgm:t>
        <a:bodyPr/>
        <a:lstStyle/>
        <a:p>
          <a:endParaRPr lang="en-US" sz="2400"/>
        </a:p>
      </dgm:t>
    </dgm:pt>
    <dgm:pt modelId="{9F23E9A6-83A6-48FF-9A4F-A10C69501A16}">
      <dgm:prSet custT="1"/>
      <dgm:spPr/>
      <dgm:t>
        <a:bodyPr/>
        <a:lstStyle/>
        <a:p>
          <a:pPr>
            <a:lnSpc>
              <a:spcPct val="100000"/>
            </a:lnSpc>
            <a:spcBef>
              <a:spcPts val="600"/>
            </a:spcBef>
            <a:spcAft>
              <a:spcPts val="600"/>
            </a:spcAft>
          </a:pPr>
          <a:r>
            <a:rPr lang="en-US" sz="2400" dirty="0">
              <a:solidFill>
                <a:schemeClr val="tx2"/>
              </a:solidFill>
            </a:rPr>
            <a:t>Offers respectful and constructive criticism</a:t>
          </a:r>
        </a:p>
      </dgm:t>
    </dgm:pt>
    <dgm:pt modelId="{E277D76E-F4B9-4BC3-99A4-60220FA5BE9A}" type="parTrans" cxnId="{01E55D70-318D-4876-8D8F-A4E010CA3EE4}">
      <dgm:prSet/>
      <dgm:spPr/>
      <dgm:t>
        <a:bodyPr/>
        <a:lstStyle/>
        <a:p>
          <a:endParaRPr lang="en-US" sz="2400"/>
        </a:p>
      </dgm:t>
    </dgm:pt>
    <dgm:pt modelId="{97C2778A-C450-4817-80DA-1A5382D6AAD8}" type="sibTrans" cxnId="{01E55D70-318D-4876-8D8F-A4E010CA3EE4}">
      <dgm:prSet/>
      <dgm:spPr/>
      <dgm:t>
        <a:bodyPr/>
        <a:lstStyle/>
        <a:p>
          <a:endParaRPr lang="en-US" sz="2400"/>
        </a:p>
      </dgm:t>
    </dgm:pt>
    <dgm:pt modelId="{E0B1F2A8-D79F-4B8E-8344-3B0EA75485C3}">
      <dgm:prSet custT="1"/>
      <dgm:spPr/>
      <dgm:t>
        <a:bodyPr/>
        <a:lstStyle/>
        <a:p>
          <a:pPr>
            <a:lnSpc>
              <a:spcPct val="100000"/>
            </a:lnSpc>
            <a:spcBef>
              <a:spcPts val="600"/>
            </a:spcBef>
            <a:spcAft>
              <a:spcPts val="1200"/>
            </a:spcAft>
          </a:pPr>
          <a:r>
            <a:rPr lang="en-US" sz="2400" dirty="0">
              <a:solidFill>
                <a:schemeClr val="tx2"/>
              </a:solidFill>
            </a:rPr>
            <a:t>Makes inappropriate comments to staff</a:t>
          </a:r>
        </a:p>
      </dgm:t>
    </dgm:pt>
    <dgm:pt modelId="{BEEDFAA7-CF80-42DD-9324-D44BD47AA0A9}" type="parTrans" cxnId="{EA7A8068-A2AC-4779-AD66-DC7B056B1B41}">
      <dgm:prSet/>
      <dgm:spPr/>
      <dgm:t>
        <a:bodyPr/>
        <a:lstStyle/>
        <a:p>
          <a:endParaRPr lang="en-US" sz="2400"/>
        </a:p>
      </dgm:t>
    </dgm:pt>
    <dgm:pt modelId="{F218BE01-35AA-4EB5-AA29-59618CD49573}" type="sibTrans" cxnId="{EA7A8068-A2AC-4779-AD66-DC7B056B1B41}">
      <dgm:prSet/>
      <dgm:spPr/>
      <dgm:t>
        <a:bodyPr/>
        <a:lstStyle/>
        <a:p>
          <a:endParaRPr lang="en-US" sz="2400"/>
        </a:p>
      </dgm:t>
    </dgm:pt>
    <dgm:pt modelId="{417441ED-97AB-40FF-9138-F0D32D0A6B6E}">
      <dgm:prSet custT="1"/>
      <dgm:spPr/>
      <dgm:t>
        <a:bodyPr/>
        <a:lstStyle/>
        <a:p>
          <a:pPr>
            <a:lnSpc>
              <a:spcPct val="100000"/>
            </a:lnSpc>
            <a:spcBef>
              <a:spcPts val="600"/>
            </a:spcBef>
            <a:spcAft>
              <a:spcPts val="600"/>
            </a:spcAft>
          </a:pPr>
          <a:r>
            <a:rPr lang="en-US" sz="2400" dirty="0">
              <a:solidFill>
                <a:schemeClr val="tx2"/>
              </a:solidFill>
            </a:rPr>
            <a:t>Refuses to communicate</a:t>
          </a:r>
        </a:p>
      </dgm:t>
    </dgm:pt>
    <dgm:pt modelId="{1E587983-FA17-47B3-8224-0A9E6C8F4888}" type="parTrans" cxnId="{EFEF2753-9BED-410D-A38A-E1A62753628B}">
      <dgm:prSet/>
      <dgm:spPr/>
      <dgm:t>
        <a:bodyPr/>
        <a:lstStyle/>
        <a:p>
          <a:endParaRPr lang="en-US" sz="2400"/>
        </a:p>
      </dgm:t>
    </dgm:pt>
    <dgm:pt modelId="{D5DE8A48-3C67-4EB5-876D-3E1A73BC5FF4}" type="sibTrans" cxnId="{EFEF2753-9BED-410D-A38A-E1A62753628B}">
      <dgm:prSet/>
      <dgm:spPr/>
      <dgm:t>
        <a:bodyPr/>
        <a:lstStyle/>
        <a:p>
          <a:endParaRPr lang="en-US" sz="2400"/>
        </a:p>
      </dgm:t>
    </dgm:pt>
    <dgm:pt modelId="{C86E9F99-FEC5-441A-A61B-662506B2AB1D}">
      <dgm:prSet custT="1"/>
      <dgm:spPr/>
      <dgm:t>
        <a:bodyPr/>
        <a:lstStyle/>
        <a:p>
          <a:pPr rtl="0">
            <a:lnSpc>
              <a:spcPct val="100000"/>
            </a:lnSpc>
            <a:spcBef>
              <a:spcPts val="600"/>
            </a:spcBef>
            <a:spcAft>
              <a:spcPts val="1200"/>
            </a:spcAft>
          </a:pPr>
          <a:r>
            <a:rPr lang="en-US" sz="2400" dirty="0">
              <a:solidFill>
                <a:schemeClr val="tx2"/>
              </a:solidFill>
            </a:rPr>
            <a:t>Physical contact that is threatening or intimidating</a:t>
          </a:r>
        </a:p>
      </dgm:t>
    </dgm:pt>
    <dgm:pt modelId="{24819137-60F6-41E5-B0B2-51BC81C9A35B}" type="parTrans" cxnId="{D3F84055-3512-4A03-8809-BB19DD6F78FC}">
      <dgm:prSet/>
      <dgm:spPr/>
      <dgm:t>
        <a:bodyPr/>
        <a:lstStyle/>
        <a:p>
          <a:endParaRPr lang="en-US"/>
        </a:p>
      </dgm:t>
    </dgm:pt>
    <dgm:pt modelId="{494F05E4-DCC3-4904-99CF-AC98A1685E1B}" type="sibTrans" cxnId="{D3F84055-3512-4A03-8809-BB19DD6F78FC}">
      <dgm:prSet/>
      <dgm:spPr/>
      <dgm:t>
        <a:bodyPr/>
        <a:lstStyle/>
        <a:p>
          <a:endParaRPr lang="en-US"/>
        </a:p>
      </dgm:t>
    </dgm:pt>
    <dgm:pt modelId="{D538803F-B570-49EE-99D8-B88BE5017FE6}">
      <dgm:prSet custT="1"/>
      <dgm:spPr/>
      <dgm:t>
        <a:bodyPr/>
        <a:lstStyle/>
        <a:p>
          <a:pPr rtl="0">
            <a:lnSpc>
              <a:spcPct val="100000"/>
            </a:lnSpc>
            <a:spcBef>
              <a:spcPts val="600"/>
            </a:spcBef>
            <a:spcAft>
              <a:spcPts val="1200"/>
            </a:spcAft>
          </a:pPr>
          <a:r>
            <a:rPr lang="en-US" sz="2400" dirty="0">
              <a:solidFill>
                <a:schemeClr val="tx2"/>
              </a:solidFill>
            </a:rPr>
            <a:t>Sexual harassment</a:t>
          </a:r>
        </a:p>
      </dgm:t>
    </dgm:pt>
    <dgm:pt modelId="{1D8892AC-EBFB-42E1-BF43-2CE998BFDF7E}" type="parTrans" cxnId="{CAF5D0F0-A1FD-48E3-870B-0CBEAFA77455}">
      <dgm:prSet/>
      <dgm:spPr/>
      <dgm:t>
        <a:bodyPr/>
        <a:lstStyle/>
        <a:p>
          <a:endParaRPr lang="en-US"/>
        </a:p>
      </dgm:t>
    </dgm:pt>
    <dgm:pt modelId="{9ED4D554-2FDA-45EB-A026-59956EB253C0}" type="sibTrans" cxnId="{CAF5D0F0-A1FD-48E3-870B-0CBEAFA77455}">
      <dgm:prSet/>
      <dgm:spPr/>
      <dgm:t>
        <a:bodyPr/>
        <a:lstStyle/>
        <a:p>
          <a:endParaRPr lang="en-US"/>
        </a:p>
      </dgm:t>
    </dgm:pt>
    <dgm:pt modelId="{9EAF8564-2805-43E5-9024-546FB802A91B}" type="pres">
      <dgm:prSet presAssocID="{3E3E983F-941C-486D-A197-FD567310A9DB}" presName="Name0" presStyleCnt="0">
        <dgm:presLayoutVars>
          <dgm:dir/>
          <dgm:animLvl val="lvl"/>
          <dgm:resizeHandles val="exact"/>
        </dgm:presLayoutVars>
      </dgm:prSet>
      <dgm:spPr/>
      <dgm:t>
        <a:bodyPr/>
        <a:lstStyle/>
        <a:p>
          <a:endParaRPr lang="en-US"/>
        </a:p>
      </dgm:t>
    </dgm:pt>
    <dgm:pt modelId="{45D6EA20-4951-4667-94CA-231BEE771A65}" type="pres">
      <dgm:prSet presAssocID="{9712993F-902A-4644-91E9-7BCB3E39FC1B}" presName="composite" presStyleCnt="0"/>
      <dgm:spPr/>
    </dgm:pt>
    <dgm:pt modelId="{335ED1CE-9165-4B52-8762-12C1114A7D5C}" type="pres">
      <dgm:prSet presAssocID="{9712993F-902A-4644-91E9-7BCB3E39FC1B}" presName="parTx" presStyleLbl="alignNode1" presStyleIdx="0" presStyleCnt="3">
        <dgm:presLayoutVars>
          <dgm:chMax val="0"/>
          <dgm:chPref val="0"/>
          <dgm:bulletEnabled val="1"/>
        </dgm:presLayoutVars>
      </dgm:prSet>
      <dgm:spPr/>
      <dgm:t>
        <a:bodyPr/>
        <a:lstStyle/>
        <a:p>
          <a:endParaRPr lang="en-US"/>
        </a:p>
      </dgm:t>
    </dgm:pt>
    <dgm:pt modelId="{C1DBF88B-1F22-4879-A2C0-3AB617FB727C}" type="pres">
      <dgm:prSet presAssocID="{9712993F-902A-4644-91E9-7BCB3E39FC1B}" presName="desTx" presStyleLbl="alignAccFollowNode1" presStyleIdx="0" presStyleCnt="3" custLinFactNeighborX="-105" custLinFactNeighborY="675">
        <dgm:presLayoutVars>
          <dgm:bulletEnabled val="1"/>
        </dgm:presLayoutVars>
      </dgm:prSet>
      <dgm:spPr/>
      <dgm:t>
        <a:bodyPr/>
        <a:lstStyle/>
        <a:p>
          <a:endParaRPr lang="en-US"/>
        </a:p>
      </dgm:t>
    </dgm:pt>
    <dgm:pt modelId="{9E78CBB1-9189-41A7-BBC2-CAE80CC48A21}" type="pres">
      <dgm:prSet presAssocID="{58A7A150-2A48-4061-A6CE-92F29E76F112}" presName="space" presStyleCnt="0"/>
      <dgm:spPr/>
    </dgm:pt>
    <dgm:pt modelId="{782E3ACE-8611-4F87-B406-0FE529781ECC}" type="pres">
      <dgm:prSet presAssocID="{80B4FF69-2830-420B-91D3-A645953685DE}" presName="composite" presStyleCnt="0"/>
      <dgm:spPr/>
    </dgm:pt>
    <dgm:pt modelId="{74AB202D-FBA3-4811-B8CE-DB932B32FF56}" type="pres">
      <dgm:prSet presAssocID="{80B4FF69-2830-420B-91D3-A645953685DE}" presName="parTx" presStyleLbl="alignNode1" presStyleIdx="1" presStyleCnt="3">
        <dgm:presLayoutVars>
          <dgm:chMax val="0"/>
          <dgm:chPref val="0"/>
          <dgm:bulletEnabled val="1"/>
        </dgm:presLayoutVars>
      </dgm:prSet>
      <dgm:spPr/>
      <dgm:t>
        <a:bodyPr/>
        <a:lstStyle/>
        <a:p>
          <a:endParaRPr lang="en-US"/>
        </a:p>
      </dgm:t>
    </dgm:pt>
    <dgm:pt modelId="{13BD6FE0-A9EF-4E5F-8EE1-2A20ADE04DB3}" type="pres">
      <dgm:prSet presAssocID="{80B4FF69-2830-420B-91D3-A645953685DE}" presName="desTx" presStyleLbl="alignAccFollowNode1" presStyleIdx="1" presStyleCnt="3">
        <dgm:presLayoutVars>
          <dgm:bulletEnabled val="1"/>
        </dgm:presLayoutVars>
      </dgm:prSet>
      <dgm:spPr/>
      <dgm:t>
        <a:bodyPr/>
        <a:lstStyle/>
        <a:p>
          <a:endParaRPr lang="en-US"/>
        </a:p>
      </dgm:t>
    </dgm:pt>
    <dgm:pt modelId="{EC7CD704-ADB7-4454-B40E-AF5EF386E2B0}" type="pres">
      <dgm:prSet presAssocID="{30546D1D-DA54-47BB-BB71-13FB3804551C}" presName="space" presStyleCnt="0"/>
      <dgm:spPr/>
    </dgm:pt>
    <dgm:pt modelId="{8DF1FDD2-E1DD-4920-A041-E3BF29F23350}" type="pres">
      <dgm:prSet presAssocID="{8D7DFFF9-6CAC-46BF-B24C-665C19F79C4A}" presName="composite" presStyleCnt="0"/>
      <dgm:spPr/>
    </dgm:pt>
    <dgm:pt modelId="{9D80A9D4-BEA7-43E1-8F74-4034DD407FD7}" type="pres">
      <dgm:prSet presAssocID="{8D7DFFF9-6CAC-46BF-B24C-665C19F79C4A}" presName="parTx" presStyleLbl="alignNode1" presStyleIdx="2" presStyleCnt="3">
        <dgm:presLayoutVars>
          <dgm:chMax val="0"/>
          <dgm:chPref val="0"/>
          <dgm:bulletEnabled val="1"/>
        </dgm:presLayoutVars>
      </dgm:prSet>
      <dgm:spPr/>
      <dgm:t>
        <a:bodyPr/>
        <a:lstStyle/>
        <a:p>
          <a:endParaRPr lang="en-US"/>
        </a:p>
      </dgm:t>
    </dgm:pt>
    <dgm:pt modelId="{EC8EA4BF-19F7-4D2E-A8E0-1F533CD6A432}" type="pres">
      <dgm:prSet presAssocID="{8D7DFFF9-6CAC-46BF-B24C-665C19F79C4A}" presName="desTx" presStyleLbl="alignAccFollowNode1" presStyleIdx="2" presStyleCnt="3">
        <dgm:presLayoutVars>
          <dgm:bulletEnabled val="1"/>
        </dgm:presLayoutVars>
      </dgm:prSet>
      <dgm:spPr/>
      <dgm:t>
        <a:bodyPr/>
        <a:lstStyle/>
        <a:p>
          <a:endParaRPr lang="en-US"/>
        </a:p>
      </dgm:t>
    </dgm:pt>
  </dgm:ptLst>
  <dgm:cxnLst>
    <dgm:cxn modelId="{895FF8B4-D2B9-4F98-A86C-715423EE4B3D}" type="presOf" srcId="{9AD74992-FAE5-41A5-A74E-DB37AF756799}" destId="{EC8EA4BF-19F7-4D2E-A8E0-1F533CD6A432}" srcOrd="0" destOrd="0" presId="urn:microsoft.com/office/officeart/2005/8/layout/hList1"/>
    <dgm:cxn modelId="{BD552400-EB18-49D7-BAC6-FE88BDDD8E58}" type="presOf" srcId="{80B4FF69-2830-420B-91D3-A645953685DE}" destId="{74AB202D-FBA3-4811-B8CE-DB932B32FF56}" srcOrd="0" destOrd="0" presId="urn:microsoft.com/office/officeart/2005/8/layout/hList1"/>
    <dgm:cxn modelId="{CAF5D0F0-A1FD-48E3-870B-0CBEAFA77455}" srcId="{8D7DFFF9-6CAC-46BF-B24C-665C19F79C4A}" destId="{D538803F-B570-49EE-99D8-B88BE5017FE6}" srcOrd="2" destOrd="0" parTransId="{1D8892AC-EBFB-42E1-BF43-2CE998BFDF7E}" sibTransId="{9ED4D554-2FDA-45EB-A026-59956EB253C0}"/>
    <dgm:cxn modelId="{E6F523D2-1367-4EA6-859F-907979414036}" type="presOf" srcId="{9F23E9A6-83A6-48FF-9A4F-A10C69501A16}" destId="{C1DBF88B-1F22-4879-A2C0-3AB617FB727C}" srcOrd="0" destOrd="2" presId="urn:microsoft.com/office/officeart/2005/8/layout/hList1"/>
    <dgm:cxn modelId="{EA7A8068-A2AC-4779-AD66-DC7B056B1B41}" srcId="{80B4FF69-2830-420B-91D3-A645953685DE}" destId="{E0B1F2A8-D79F-4B8E-8344-3B0EA75485C3}" srcOrd="1" destOrd="0" parTransId="{BEEDFAA7-CF80-42DD-9324-D44BD47AA0A9}" sibTransId="{F218BE01-35AA-4EB5-AA29-59618CD49573}"/>
    <dgm:cxn modelId="{BCEDF5CA-1D17-41AB-81CF-B58FDA718FC4}" type="presOf" srcId="{4BF70465-0C0B-4AA8-839B-46341964E0D5}" destId="{C1DBF88B-1F22-4879-A2C0-3AB617FB727C}" srcOrd="0" destOrd="1" presId="urn:microsoft.com/office/officeart/2005/8/layout/hList1"/>
    <dgm:cxn modelId="{01E55D70-318D-4876-8D8F-A4E010CA3EE4}" srcId="{9712993F-902A-4644-91E9-7BCB3E39FC1B}" destId="{9F23E9A6-83A6-48FF-9A4F-A10C69501A16}" srcOrd="2" destOrd="0" parTransId="{E277D76E-F4B9-4BC3-99A4-60220FA5BE9A}" sibTransId="{97C2778A-C450-4817-80DA-1A5382D6AAD8}"/>
    <dgm:cxn modelId="{71ECF4D1-135D-4C87-AAEF-EE31F42EE852}" type="presOf" srcId="{9712993F-902A-4644-91E9-7BCB3E39FC1B}" destId="{335ED1CE-9165-4B52-8762-12C1114A7D5C}" srcOrd="0" destOrd="0" presId="urn:microsoft.com/office/officeart/2005/8/layout/hList1"/>
    <dgm:cxn modelId="{BDC47756-FEC7-4F2A-B5BE-C859AB33E50F}" srcId="{3E3E983F-941C-486D-A197-FD567310A9DB}" destId="{80B4FF69-2830-420B-91D3-A645953685DE}" srcOrd="1" destOrd="0" parTransId="{CD35E365-1ECC-44A3-8036-6D51AFA642E2}" sibTransId="{30546D1D-DA54-47BB-BB71-13FB3804551C}"/>
    <dgm:cxn modelId="{EA2600F0-FB59-42F2-AAF6-ABC166A2D21A}" srcId="{3E3E983F-941C-486D-A197-FD567310A9DB}" destId="{8D7DFFF9-6CAC-46BF-B24C-665C19F79C4A}" srcOrd="2" destOrd="0" parTransId="{251B4469-01AC-40B3-8F63-6CA708CE2D1C}" sibTransId="{09C0BB36-1892-4850-9540-EFB759766BF0}"/>
    <dgm:cxn modelId="{A7C77342-DAE6-4A77-A938-A3535D8F5DA6}" type="presOf" srcId="{8D7DFFF9-6CAC-46BF-B24C-665C19F79C4A}" destId="{9D80A9D4-BEA7-43E1-8F74-4034DD407FD7}" srcOrd="0" destOrd="0" presId="urn:microsoft.com/office/officeart/2005/8/layout/hList1"/>
    <dgm:cxn modelId="{5AEEF3EF-B8BE-4833-B62F-B8CBBC4AA239}" type="presOf" srcId="{3E3E983F-941C-486D-A197-FD567310A9DB}" destId="{9EAF8564-2805-43E5-9024-546FB802A91B}" srcOrd="0" destOrd="0" presId="urn:microsoft.com/office/officeart/2005/8/layout/hList1"/>
    <dgm:cxn modelId="{2B1740C3-5119-4F04-8466-21C1AB249C3A}" srcId="{3E3E983F-941C-486D-A197-FD567310A9DB}" destId="{9712993F-902A-4644-91E9-7BCB3E39FC1B}" srcOrd="0" destOrd="0" parTransId="{D56322C8-9897-435D-9D2F-E223FB297F0D}" sibTransId="{58A7A150-2A48-4061-A6CE-92F29E76F112}"/>
    <dgm:cxn modelId="{32546FE6-D064-4C91-9D0B-312D48AC7BB6}" type="presOf" srcId="{D538803F-B570-49EE-99D8-B88BE5017FE6}" destId="{EC8EA4BF-19F7-4D2E-A8E0-1F533CD6A432}" srcOrd="0" destOrd="2" presId="urn:microsoft.com/office/officeart/2005/8/layout/hList1"/>
    <dgm:cxn modelId="{9A44F033-285A-41F3-9718-BE4A042E0AAB}" type="presOf" srcId="{985107A7-2EB5-4437-8D1A-C2AF462B4CB9}" destId="{C1DBF88B-1F22-4879-A2C0-3AB617FB727C}" srcOrd="0" destOrd="0" presId="urn:microsoft.com/office/officeart/2005/8/layout/hList1"/>
    <dgm:cxn modelId="{51BEBA4D-428B-4BAF-9039-0D6BF6439CE4}" type="presOf" srcId="{C86E9F99-FEC5-441A-A61B-662506B2AB1D}" destId="{EC8EA4BF-19F7-4D2E-A8E0-1F533CD6A432}" srcOrd="0" destOrd="1" presId="urn:microsoft.com/office/officeart/2005/8/layout/hList1"/>
    <dgm:cxn modelId="{D3F84055-3512-4A03-8809-BB19DD6F78FC}" srcId="{8D7DFFF9-6CAC-46BF-B24C-665C19F79C4A}" destId="{C86E9F99-FEC5-441A-A61B-662506B2AB1D}" srcOrd="1" destOrd="0" parTransId="{24819137-60F6-41E5-B0B2-51BC81C9A35B}" sibTransId="{494F05E4-DCC3-4904-99CF-AC98A1685E1B}"/>
    <dgm:cxn modelId="{43475CD5-DFF1-4373-BE51-9A3A38746D25}" srcId="{8D7DFFF9-6CAC-46BF-B24C-665C19F79C4A}" destId="{9AD74992-FAE5-41A5-A74E-DB37AF756799}" srcOrd="0" destOrd="0" parTransId="{F9D185F3-4795-4BFA-AB4B-62710ED90991}" sibTransId="{DB5E1AFC-2A9B-48FE-8FF5-7A4728FD0779}"/>
    <dgm:cxn modelId="{5EA76C4E-8F38-45C6-9934-D81DF73CAEAF}" srcId="{80B4FF69-2830-420B-91D3-A645953685DE}" destId="{BE915125-75E3-4BC0-8C0C-BED134CF1FFD}" srcOrd="0" destOrd="0" parTransId="{F8D20B6E-1DFD-47C7-9D33-0DAA74C19B60}" sibTransId="{8451823C-F8B1-49BE-BEDC-D0BF62D2D722}"/>
    <dgm:cxn modelId="{5E2A2532-CD0D-4FC5-9E73-AA26C4E00AB0}" srcId="{9712993F-902A-4644-91E9-7BCB3E39FC1B}" destId="{4BF70465-0C0B-4AA8-839B-46341964E0D5}" srcOrd="1" destOrd="0" parTransId="{66F3C186-1CBA-4809-9F57-4949FD6F5176}" sibTransId="{F9A06D63-1706-4E35-BF0F-010314C9C8C8}"/>
    <dgm:cxn modelId="{B7A3CB5F-7549-42EA-9C2B-0BD14EB47ACA}" type="presOf" srcId="{BE915125-75E3-4BC0-8C0C-BED134CF1FFD}" destId="{13BD6FE0-A9EF-4E5F-8EE1-2A20ADE04DB3}" srcOrd="0" destOrd="0" presId="urn:microsoft.com/office/officeart/2005/8/layout/hList1"/>
    <dgm:cxn modelId="{EFEF2753-9BED-410D-A38A-E1A62753628B}" srcId="{80B4FF69-2830-420B-91D3-A645953685DE}" destId="{417441ED-97AB-40FF-9138-F0D32D0A6B6E}" srcOrd="2" destOrd="0" parTransId="{1E587983-FA17-47B3-8224-0A9E6C8F4888}" sibTransId="{D5DE8A48-3C67-4EB5-876D-3E1A73BC5FF4}"/>
    <dgm:cxn modelId="{4C27D86C-EA39-4B83-9BC9-F611BC994DE6}" srcId="{9712993F-902A-4644-91E9-7BCB3E39FC1B}" destId="{985107A7-2EB5-4437-8D1A-C2AF462B4CB9}" srcOrd="0" destOrd="0" parTransId="{0FCB5636-C00F-428A-913B-38A027B66005}" sibTransId="{B6202B16-F43E-4B35-B718-05023DB81E4E}"/>
    <dgm:cxn modelId="{71F3D435-BDFF-4E6E-803D-B57EB2FA432F}" type="presOf" srcId="{E0B1F2A8-D79F-4B8E-8344-3B0EA75485C3}" destId="{13BD6FE0-A9EF-4E5F-8EE1-2A20ADE04DB3}" srcOrd="0" destOrd="1" presId="urn:microsoft.com/office/officeart/2005/8/layout/hList1"/>
    <dgm:cxn modelId="{8D3E90DD-D6BB-4F00-92BE-42B8C0B5AA6C}" type="presOf" srcId="{417441ED-97AB-40FF-9138-F0D32D0A6B6E}" destId="{13BD6FE0-A9EF-4E5F-8EE1-2A20ADE04DB3}" srcOrd="0" destOrd="2" presId="urn:microsoft.com/office/officeart/2005/8/layout/hList1"/>
    <dgm:cxn modelId="{84B93E0E-F594-4018-9B2E-9A9B55884A08}" type="presParOf" srcId="{9EAF8564-2805-43E5-9024-546FB802A91B}" destId="{45D6EA20-4951-4667-94CA-231BEE771A65}" srcOrd="0" destOrd="0" presId="urn:microsoft.com/office/officeart/2005/8/layout/hList1"/>
    <dgm:cxn modelId="{C220ED11-4888-4023-A114-18E37F621ECD}" type="presParOf" srcId="{45D6EA20-4951-4667-94CA-231BEE771A65}" destId="{335ED1CE-9165-4B52-8762-12C1114A7D5C}" srcOrd="0" destOrd="0" presId="urn:microsoft.com/office/officeart/2005/8/layout/hList1"/>
    <dgm:cxn modelId="{E5F1847B-CD22-43BD-9991-8819BD24B32D}" type="presParOf" srcId="{45D6EA20-4951-4667-94CA-231BEE771A65}" destId="{C1DBF88B-1F22-4879-A2C0-3AB617FB727C}" srcOrd="1" destOrd="0" presId="urn:microsoft.com/office/officeart/2005/8/layout/hList1"/>
    <dgm:cxn modelId="{A2DB953F-8482-43A7-BE73-40B0703C96E4}" type="presParOf" srcId="{9EAF8564-2805-43E5-9024-546FB802A91B}" destId="{9E78CBB1-9189-41A7-BBC2-CAE80CC48A21}" srcOrd="1" destOrd="0" presId="urn:microsoft.com/office/officeart/2005/8/layout/hList1"/>
    <dgm:cxn modelId="{AFDAFFC4-E8A3-4FD2-876E-2CC15C492444}" type="presParOf" srcId="{9EAF8564-2805-43E5-9024-546FB802A91B}" destId="{782E3ACE-8611-4F87-B406-0FE529781ECC}" srcOrd="2" destOrd="0" presId="urn:microsoft.com/office/officeart/2005/8/layout/hList1"/>
    <dgm:cxn modelId="{1FABF388-8F87-463E-ACC4-5DA74E14DC0B}" type="presParOf" srcId="{782E3ACE-8611-4F87-B406-0FE529781ECC}" destId="{74AB202D-FBA3-4811-B8CE-DB932B32FF56}" srcOrd="0" destOrd="0" presId="urn:microsoft.com/office/officeart/2005/8/layout/hList1"/>
    <dgm:cxn modelId="{9434F44C-A6BC-4C84-8766-DE626EFCEBF2}" type="presParOf" srcId="{782E3ACE-8611-4F87-B406-0FE529781ECC}" destId="{13BD6FE0-A9EF-4E5F-8EE1-2A20ADE04DB3}" srcOrd="1" destOrd="0" presId="urn:microsoft.com/office/officeart/2005/8/layout/hList1"/>
    <dgm:cxn modelId="{7F155F54-BFFC-48E3-B001-FBF0EEFD21D0}" type="presParOf" srcId="{9EAF8564-2805-43E5-9024-546FB802A91B}" destId="{EC7CD704-ADB7-4454-B40E-AF5EF386E2B0}" srcOrd="3" destOrd="0" presId="urn:microsoft.com/office/officeart/2005/8/layout/hList1"/>
    <dgm:cxn modelId="{B9B8FD00-46E7-4A47-96F0-01F2AFECB2EF}" type="presParOf" srcId="{9EAF8564-2805-43E5-9024-546FB802A91B}" destId="{8DF1FDD2-E1DD-4920-A041-E3BF29F23350}" srcOrd="4" destOrd="0" presId="urn:microsoft.com/office/officeart/2005/8/layout/hList1"/>
    <dgm:cxn modelId="{944EF57D-C1C5-4461-9291-1A4AD677E412}" type="presParOf" srcId="{8DF1FDD2-E1DD-4920-A041-E3BF29F23350}" destId="{9D80A9D4-BEA7-43E1-8F74-4034DD407FD7}" srcOrd="0" destOrd="0" presId="urn:microsoft.com/office/officeart/2005/8/layout/hList1"/>
    <dgm:cxn modelId="{C8DB3073-4A75-49C0-94F5-C3CA43209BD4}" type="presParOf" srcId="{8DF1FDD2-E1DD-4920-A041-E3BF29F23350}" destId="{EC8EA4BF-19F7-4D2E-A8E0-1F533CD6A432}" srcOrd="1" destOrd="0" presId="urn:microsoft.com/office/officeart/2005/8/layout/h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E3E983F-941C-486D-A197-FD567310A9DB}"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9712993F-902A-4644-91E9-7BCB3E39FC1B}">
      <dgm:prSet custT="1"/>
      <dgm:spPr/>
      <dgm:t>
        <a:bodyPr/>
        <a:lstStyle/>
        <a:p>
          <a:pPr rtl="0"/>
          <a:r>
            <a:rPr lang="en-US" sz="2000" b="1" dirty="0"/>
            <a:t>Passive</a:t>
          </a:r>
        </a:p>
      </dgm:t>
    </dgm:pt>
    <dgm:pt modelId="{D56322C8-9897-435D-9D2F-E223FB297F0D}" type="parTrans" cxnId="{2B1740C3-5119-4F04-8466-21C1AB249C3A}">
      <dgm:prSet/>
      <dgm:spPr/>
      <dgm:t>
        <a:bodyPr/>
        <a:lstStyle/>
        <a:p>
          <a:endParaRPr lang="en-US" sz="2000"/>
        </a:p>
      </dgm:t>
    </dgm:pt>
    <dgm:pt modelId="{58A7A150-2A48-4061-A6CE-92F29E76F112}" type="sibTrans" cxnId="{2B1740C3-5119-4F04-8466-21C1AB249C3A}">
      <dgm:prSet/>
      <dgm:spPr/>
      <dgm:t>
        <a:bodyPr/>
        <a:lstStyle/>
        <a:p>
          <a:endParaRPr lang="en-US" sz="2000"/>
        </a:p>
      </dgm:t>
    </dgm:pt>
    <dgm:pt modelId="{80B4FF69-2830-420B-91D3-A645953685DE}">
      <dgm:prSet custT="1"/>
      <dgm:spPr/>
      <dgm:t>
        <a:bodyPr/>
        <a:lstStyle/>
        <a:p>
          <a:pPr rtl="0"/>
          <a:r>
            <a:rPr lang="en-US" sz="2000" b="1" dirty="0"/>
            <a:t>Passive aggressive</a:t>
          </a:r>
        </a:p>
      </dgm:t>
    </dgm:pt>
    <dgm:pt modelId="{CD35E365-1ECC-44A3-8036-6D51AFA642E2}" type="parTrans" cxnId="{BDC47756-FEC7-4F2A-B5BE-C859AB33E50F}">
      <dgm:prSet/>
      <dgm:spPr/>
      <dgm:t>
        <a:bodyPr/>
        <a:lstStyle/>
        <a:p>
          <a:endParaRPr lang="en-US" sz="2000"/>
        </a:p>
      </dgm:t>
    </dgm:pt>
    <dgm:pt modelId="{30546D1D-DA54-47BB-BB71-13FB3804551C}" type="sibTrans" cxnId="{BDC47756-FEC7-4F2A-B5BE-C859AB33E50F}">
      <dgm:prSet/>
      <dgm:spPr/>
      <dgm:t>
        <a:bodyPr/>
        <a:lstStyle/>
        <a:p>
          <a:endParaRPr lang="en-US" sz="2000"/>
        </a:p>
      </dgm:t>
    </dgm:pt>
    <dgm:pt modelId="{BE915125-75E3-4BC0-8C0C-BED134CF1FFD}">
      <dgm:prSet custT="1"/>
      <dgm:spPr/>
      <dgm:t>
        <a:bodyPr/>
        <a:lstStyle/>
        <a:p>
          <a:pPr rtl="0">
            <a:spcAft>
              <a:spcPts val="1200"/>
            </a:spcAft>
          </a:pPr>
          <a:r>
            <a:rPr lang="en-US" sz="2000" dirty="0">
              <a:solidFill>
                <a:schemeClr val="tx2"/>
              </a:solidFill>
            </a:rPr>
            <a:t>Excessive sarcasm </a:t>
          </a:r>
        </a:p>
      </dgm:t>
    </dgm:pt>
    <dgm:pt modelId="{F8D20B6E-1DFD-47C7-9D33-0DAA74C19B60}" type="parTrans" cxnId="{5EA76C4E-8F38-45C6-9934-D81DF73CAEAF}">
      <dgm:prSet/>
      <dgm:spPr/>
      <dgm:t>
        <a:bodyPr/>
        <a:lstStyle/>
        <a:p>
          <a:endParaRPr lang="en-US" sz="2000"/>
        </a:p>
      </dgm:t>
    </dgm:pt>
    <dgm:pt modelId="{8451823C-F8B1-49BE-BEDC-D0BF62D2D722}" type="sibTrans" cxnId="{5EA76C4E-8F38-45C6-9934-D81DF73CAEAF}">
      <dgm:prSet/>
      <dgm:spPr/>
      <dgm:t>
        <a:bodyPr/>
        <a:lstStyle/>
        <a:p>
          <a:endParaRPr lang="en-US" sz="2000"/>
        </a:p>
      </dgm:t>
    </dgm:pt>
    <dgm:pt modelId="{8D7DFFF9-6CAC-46BF-B24C-665C19F79C4A}">
      <dgm:prSet custT="1"/>
      <dgm:spPr/>
      <dgm:t>
        <a:bodyPr/>
        <a:lstStyle/>
        <a:p>
          <a:pPr rtl="0"/>
          <a:r>
            <a:rPr lang="en-US" sz="2000" b="1" dirty="0"/>
            <a:t>Aggressive</a:t>
          </a:r>
        </a:p>
      </dgm:t>
    </dgm:pt>
    <dgm:pt modelId="{251B4469-01AC-40B3-8F63-6CA708CE2D1C}" type="parTrans" cxnId="{EA2600F0-FB59-42F2-AAF6-ABC166A2D21A}">
      <dgm:prSet/>
      <dgm:spPr/>
      <dgm:t>
        <a:bodyPr/>
        <a:lstStyle/>
        <a:p>
          <a:endParaRPr lang="en-US" sz="2000"/>
        </a:p>
      </dgm:t>
    </dgm:pt>
    <dgm:pt modelId="{09C0BB36-1892-4850-9540-EFB759766BF0}" type="sibTrans" cxnId="{EA2600F0-FB59-42F2-AAF6-ABC166A2D21A}">
      <dgm:prSet/>
      <dgm:spPr/>
      <dgm:t>
        <a:bodyPr/>
        <a:lstStyle/>
        <a:p>
          <a:endParaRPr lang="en-US" sz="2000"/>
        </a:p>
      </dgm:t>
    </dgm:pt>
    <dgm:pt modelId="{985107A7-2EB5-4437-8D1A-C2AF462B4CB9}">
      <dgm:prSet custT="1"/>
      <dgm:spPr/>
      <dgm:t>
        <a:bodyPr/>
        <a:lstStyle/>
        <a:p>
          <a:pPr rtl="0">
            <a:spcAft>
              <a:spcPts val="1200"/>
            </a:spcAft>
          </a:pPr>
          <a:r>
            <a:rPr lang="en-US" sz="2000">
              <a:solidFill>
                <a:schemeClr val="tx2"/>
              </a:solidFill>
            </a:rPr>
            <a:t>Incomplete charting</a:t>
          </a:r>
          <a:endParaRPr lang="en-US" sz="2000" dirty="0">
            <a:solidFill>
              <a:schemeClr val="tx2"/>
            </a:solidFill>
          </a:endParaRPr>
        </a:p>
      </dgm:t>
    </dgm:pt>
    <dgm:pt modelId="{B6202B16-F43E-4B35-B718-05023DB81E4E}" type="sibTrans" cxnId="{4C27D86C-EA39-4B83-9BC9-F611BC994DE6}">
      <dgm:prSet/>
      <dgm:spPr/>
      <dgm:t>
        <a:bodyPr/>
        <a:lstStyle/>
        <a:p>
          <a:endParaRPr lang="en-US" sz="2000"/>
        </a:p>
      </dgm:t>
    </dgm:pt>
    <dgm:pt modelId="{0FCB5636-C00F-428A-913B-38A027B66005}" type="parTrans" cxnId="{4C27D86C-EA39-4B83-9BC9-F611BC994DE6}">
      <dgm:prSet/>
      <dgm:spPr/>
      <dgm:t>
        <a:bodyPr/>
        <a:lstStyle/>
        <a:p>
          <a:endParaRPr lang="en-US" sz="2000"/>
        </a:p>
      </dgm:t>
    </dgm:pt>
    <dgm:pt modelId="{1FF859C0-5C63-4C1F-A2D6-996F3F01C085}">
      <dgm:prSet custT="1"/>
      <dgm:spPr/>
      <dgm:t>
        <a:bodyPr/>
        <a:lstStyle/>
        <a:p>
          <a:pPr rtl="0">
            <a:spcAft>
              <a:spcPts val="1200"/>
            </a:spcAft>
          </a:pPr>
          <a:r>
            <a:rPr lang="en-US" sz="2000" dirty="0">
              <a:solidFill>
                <a:schemeClr val="tx2"/>
              </a:solidFill>
            </a:rPr>
            <a:t>Avoidance</a:t>
          </a:r>
        </a:p>
      </dgm:t>
    </dgm:pt>
    <dgm:pt modelId="{580453A6-62CF-42A2-90E6-C33940C3D33C}" type="parTrans" cxnId="{D01EE042-DDAA-435D-AC64-A89DE05A6D7B}">
      <dgm:prSet/>
      <dgm:spPr/>
      <dgm:t>
        <a:bodyPr/>
        <a:lstStyle/>
        <a:p>
          <a:endParaRPr lang="en-US" sz="2000"/>
        </a:p>
      </dgm:t>
    </dgm:pt>
    <dgm:pt modelId="{F524C66D-C6F4-4F6E-8763-5430E511763B}" type="sibTrans" cxnId="{D01EE042-DDAA-435D-AC64-A89DE05A6D7B}">
      <dgm:prSet/>
      <dgm:spPr/>
      <dgm:t>
        <a:bodyPr/>
        <a:lstStyle/>
        <a:p>
          <a:endParaRPr lang="en-US" sz="2000"/>
        </a:p>
      </dgm:t>
    </dgm:pt>
    <dgm:pt modelId="{CC263AE8-9846-4881-9A21-727ADD835C7F}">
      <dgm:prSet custT="1"/>
      <dgm:spPr/>
      <dgm:t>
        <a:bodyPr/>
        <a:lstStyle/>
        <a:p>
          <a:pPr rtl="0">
            <a:spcAft>
              <a:spcPts val="1200"/>
            </a:spcAft>
          </a:pPr>
          <a:r>
            <a:rPr lang="en-US" sz="2000" dirty="0">
              <a:solidFill>
                <a:schemeClr val="tx2"/>
              </a:solidFill>
            </a:rPr>
            <a:t>Failure to answer </a:t>
          </a:r>
          <a:br>
            <a:rPr lang="en-US" sz="2000" dirty="0">
              <a:solidFill>
                <a:schemeClr val="tx2"/>
              </a:solidFill>
            </a:rPr>
          </a:br>
          <a:r>
            <a:rPr lang="en-US" sz="2000" dirty="0">
              <a:solidFill>
                <a:schemeClr val="tx2"/>
              </a:solidFill>
            </a:rPr>
            <a:t>calls</a:t>
          </a:r>
        </a:p>
      </dgm:t>
    </dgm:pt>
    <dgm:pt modelId="{91245F89-C921-41BB-8210-2EC64BF94E26}" type="parTrans" cxnId="{7C78C60B-45F3-4A86-A9DA-8E618127CDF4}">
      <dgm:prSet/>
      <dgm:spPr/>
      <dgm:t>
        <a:bodyPr/>
        <a:lstStyle/>
        <a:p>
          <a:endParaRPr lang="en-US" sz="2000"/>
        </a:p>
      </dgm:t>
    </dgm:pt>
    <dgm:pt modelId="{BF226679-DFAB-4324-BE8C-7223F73EA8F9}" type="sibTrans" cxnId="{7C78C60B-45F3-4A86-A9DA-8E618127CDF4}">
      <dgm:prSet/>
      <dgm:spPr/>
      <dgm:t>
        <a:bodyPr/>
        <a:lstStyle/>
        <a:p>
          <a:endParaRPr lang="en-US" sz="2000"/>
        </a:p>
      </dgm:t>
    </dgm:pt>
    <dgm:pt modelId="{B4E125F3-4AD8-43F7-8AD8-6F1D4017D9DC}">
      <dgm:prSet custT="1"/>
      <dgm:spPr/>
      <dgm:t>
        <a:bodyPr/>
        <a:lstStyle/>
        <a:p>
          <a:pPr rtl="0">
            <a:spcAft>
              <a:spcPts val="1200"/>
            </a:spcAft>
          </a:pPr>
          <a:r>
            <a:rPr lang="en-US" sz="2000" dirty="0">
              <a:solidFill>
                <a:schemeClr val="tx2"/>
              </a:solidFill>
            </a:rPr>
            <a:t>Frequent absences</a:t>
          </a:r>
        </a:p>
      </dgm:t>
    </dgm:pt>
    <dgm:pt modelId="{06CE1381-1967-4B5D-AB7B-699DEB4D2875}" type="parTrans" cxnId="{4655848C-D0A3-46B8-9025-4755D614E4F7}">
      <dgm:prSet/>
      <dgm:spPr/>
      <dgm:t>
        <a:bodyPr/>
        <a:lstStyle/>
        <a:p>
          <a:endParaRPr lang="en-US" sz="2000"/>
        </a:p>
      </dgm:t>
    </dgm:pt>
    <dgm:pt modelId="{42B82BC5-8C1C-4B37-9FCA-91BC1A43E00A}" type="sibTrans" cxnId="{4655848C-D0A3-46B8-9025-4755D614E4F7}">
      <dgm:prSet/>
      <dgm:spPr/>
      <dgm:t>
        <a:bodyPr/>
        <a:lstStyle/>
        <a:p>
          <a:endParaRPr lang="en-US" sz="2000"/>
        </a:p>
      </dgm:t>
    </dgm:pt>
    <dgm:pt modelId="{297894E4-07D2-4DC5-AA95-40C0F20BA971}">
      <dgm:prSet custT="1"/>
      <dgm:spPr/>
      <dgm:t>
        <a:bodyPr/>
        <a:lstStyle/>
        <a:p>
          <a:pPr rtl="0">
            <a:spcAft>
              <a:spcPts val="1200"/>
            </a:spcAft>
          </a:pPr>
          <a:r>
            <a:rPr lang="en-US" sz="2000" dirty="0">
              <a:solidFill>
                <a:schemeClr val="tx2"/>
              </a:solidFill>
            </a:rPr>
            <a:t>Chronic tardiness</a:t>
          </a:r>
        </a:p>
      </dgm:t>
    </dgm:pt>
    <dgm:pt modelId="{444F4E46-9FA0-4E02-BE3D-EB5CAF45F9BB}" type="parTrans" cxnId="{54394BC1-906D-4B01-9841-A86214B8876F}">
      <dgm:prSet/>
      <dgm:spPr/>
      <dgm:t>
        <a:bodyPr/>
        <a:lstStyle/>
        <a:p>
          <a:endParaRPr lang="en-US" sz="2000"/>
        </a:p>
      </dgm:t>
    </dgm:pt>
    <dgm:pt modelId="{C057E335-8D26-4716-8297-32513A0E341B}" type="sibTrans" cxnId="{54394BC1-906D-4B01-9841-A86214B8876F}">
      <dgm:prSet/>
      <dgm:spPr/>
      <dgm:t>
        <a:bodyPr/>
        <a:lstStyle/>
        <a:p>
          <a:endParaRPr lang="en-US" sz="2000"/>
        </a:p>
      </dgm:t>
    </dgm:pt>
    <dgm:pt modelId="{D0600D7F-C3AD-4347-A929-B6E31FCBDEB7}">
      <dgm:prSet custT="1"/>
      <dgm:spPr/>
      <dgm:t>
        <a:bodyPr/>
        <a:lstStyle/>
        <a:p>
          <a:pPr rtl="0">
            <a:spcAft>
              <a:spcPts val="1200"/>
            </a:spcAft>
          </a:pPr>
          <a:r>
            <a:rPr lang="en-US" sz="2000" dirty="0">
              <a:solidFill>
                <a:schemeClr val="tx2"/>
              </a:solidFill>
            </a:rPr>
            <a:t>Getting behind</a:t>
          </a:r>
        </a:p>
      </dgm:t>
    </dgm:pt>
    <dgm:pt modelId="{8DE30668-FF02-4E8A-951D-F3CEAC3DBF40}" type="parTrans" cxnId="{2F4A1533-CEB6-45C9-AAE3-0271F2C1A93D}">
      <dgm:prSet/>
      <dgm:spPr/>
      <dgm:t>
        <a:bodyPr/>
        <a:lstStyle/>
        <a:p>
          <a:endParaRPr lang="en-US" sz="2000"/>
        </a:p>
      </dgm:t>
    </dgm:pt>
    <dgm:pt modelId="{A94AB5EF-8988-42B1-A77F-DB0C12DF7F11}" type="sibTrans" cxnId="{2F4A1533-CEB6-45C9-AAE3-0271F2C1A93D}">
      <dgm:prSet/>
      <dgm:spPr/>
      <dgm:t>
        <a:bodyPr/>
        <a:lstStyle/>
        <a:p>
          <a:endParaRPr lang="en-US" sz="2000"/>
        </a:p>
      </dgm:t>
    </dgm:pt>
    <dgm:pt modelId="{5A18D6A9-F669-4A11-819D-6333DCC44884}">
      <dgm:prSet custT="1"/>
      <dgm:spPr/>
      <dgm:t>
        <a:bodyPr/>
        <a:lstStyle/>
        <a:p>
          <a:pPr rtl="0">
            <a:spcAft>
              <a:spcPts val="600"/>
            </a:spcAft>
          </a:pPr>
          <a:r>
            <a:rPr lang="en-US" sz="2000" dirty="0">
              <a:solidFill>
                <a:schemeClr val="tx2"/>
              </a:solidFill>
            </a:rPr>
            <a:t>Refusing to help</a:t>
          </a:r>
        </a:p>
      </dgm:t>
    </dgm:pt>
    <dgm:pt modelId="{306FD638-E528-4E78-BA8A-BB2E8572BC90}" type="parTrans" cxnId="{D2254B4B-A573-4CA9-A227-6A15F7967161}">
      <dgm:prSet/>
      <dgm:spPr/>
      <dgm:t>
        <a:bodyPr/>
        <a:lstStyle/>
        <a:p>
          <a:endParaRPr lang="en-US" sz="2000"/>
        </a:p>
      </dgm:t>
    </dgm:pt>
    <dgm:pt modelId="{CDEC4020-AA43-47D4-9D3A-2AFF8145AFD5}" type="sibTrans" cxnId="{D2254B4B-A573-4CA9-A227-6A15F7967161}">
      <dgm:prSet/>
      <dgm:spPr/>
      <dgm:t>
        <a:bodyPr/>
        <a:lstStyle/>
        <a:p>
          <a:endParaRPr lang="en-US" sz="2000"/>
        </a:p>
      </dgm:t>
    </dgm:pt>
    <dgm:pt modelId="{3318DEFC-B197-4DAC-A0C0-9C194FAF318F}">
      <dgm:prSet custT="1"/>
      <dgm:spPr/>
      <dgm:t>
        <a:bodyPr/>
        <a:lstStyle/>
        <a:p>
          <a:pPr rtl="0">
            <a:spcAft>
              <a:spcPts val="1200"/>
            </a:spcAft>
          </a:pPr>
          <a:r>
            <a:rPr lang="en-US" sz="2000" dirty="0">
              <a:solidFill>
                <a:schemeClr val="tx2"/>
              </a:solidFill>
            </a:rPr>
            <a:t>Implied threats</a:t>
          </a:r>
        </a:p>
      </dgm:t>
    </dgm:pt>
    <dgm:pt modelId="{F8C81DC0-5E15-4445-B5A0-1FFD02BF4A9F}" type="parTrans" cxnId="{9021E197-D4D6-4B34-A0DD-F15696C199C5}">
      <dgm:prSet/>
      <dgm:spPr/>
      <dgm:t>
        <a:bodyPr/>
        <a:lstStyle/>
        <a:p>
          <a:endParaRPr lang="en-US" sz="2000"/>
        </a:p>
      </dgm:t>
    </dgm:pt>
    <dgm:pt modelId="{E5016DC0-0BDF-4BA3-A339-A7B4D05FC47B}" type="sibTrans" cxnId="{9021E197-D4D6-4B34-A0DD-F15696C199C5}">
      <dgm:prSet/>
      <dgm:spPr/>
      <dgm:t>
        <a:bodyPr/>
        <a:lstStyle/>
        <a:p>
          <a:endParaRPr lang="en-US" sz="2000"/>
        </a:p>
      </dgm:t>
    </dgm:pt>
    <dgm:pt modelId="{43742343-9491-4D74-B7EB-6C05E55A7E55}">
      <dgm:prSet custT="1"/>
      <dgm:spPr/>
      <dgm:t>
        <a:bodyPr/>
        <a:lstStyle/>
        <a:p>
          <a:pPr rtl="0">
            <a:spcAft>
              <a:spcPts val="1200"/>
            </a:spcAft>
          </a:pPr>
          <a:r>
            <a:rPr lang="en-US" sz="2000" dirty="0">
              <a:solidFill>
                <a:schemeClr val="tx2"/>
              </a:solidFill>
            </a:rPr>
            <a:t>Inappropriate jokes</a:t>
          </a:r>
        </a:p>
      </dgm:t>
    </dgm:pt>
    <dgm:pt modelId="{7536A9DC-43AC-4950-AAAA-D79D7BBA399D}" type="parTrans" cxnId="{BB86FDEF-4D8C-41A1-8AF8-50552164D8CA}">
      <dgm:prSet/>
      <dgm:spPr/>
      <dgm:t>
        <a:bodyPr/>
        <a:lstStyle/>
        <a:p>
          <a:endParaRPr lang="en-US" sz="2000"/>
        </a:p>
      </dgm:t>
    </dgm:pt>
    <dgm:pt modelId="{14399160-5FEB-4202-844A-12C666C515AF}" type="sibTrans" cxnId="{BB86FDEF-4D8C-41A1-8AF8-50552164D8CA}">
      <dgm:prSet/>
      <dgm:spPr/>
      <dgm:t>
        <a:bodyPr/>
        <a:lstStyle/>
        <a:p>
          <a:endParaRPr lang="en-US" sz="2000"/>
        </a:p>
      </dgm:t>
    </dgm:pt>
    <dgm:pt modelId="{0696EE0E-6BF0-4080-BD02-C0E99340230F}">
      <dgm:prSet custT="1"/>
      <dgm:spPr/>
      <dgm:t>
        <a:bodyPr/>
        <a:lstStyle/>
        <a:p>
          <a:pPr rtl="0">
            <a:spcAft>
              <a:spcPts val="1200"/>
            </a:spcAft>
          </a:pPr>
          <a:r>
            <a:rPr lang="en-US" sz="2000" dirty="0">
              <a:solidFill>
                <a:schemeClr val="tx2"/>
              </a:solidFill>
            </a:rPr>
            <a:t>Refusal to complete tasks</a:t>
          </a:r>
        </a:p>
      </dgm:t>
    </dgm:pt>
    <dgm:pt modelId="{0D0CB64D-CE23-49A7-99C8-D4745AA4775B}" type="parTrans" cxnId="{A4580AEB-3F78-49C2-9FBE-363ED5106AD0}">
      <dgm:prSet/>
      <dgm:spPr/>
      <dgm:t>
        <a:bodyPr/>
        <a:lstStyle/>
        <a:p>
          <a:endParaRPr lang="en-US" sz="2000"/>
        </a:p>
      </dgm:t>
    </dgm:pt>
    <dgm:pt modelId="{F37A74DD-B65D-4E73-80CA-A323F67FEB4F}" type="sibTrans" cxnId="{A4580AEB-3F78-49C2-9FBE-363ED5106AD0}">
      <dgm:prSet/>
      <dgm:spPr/>
      <dgm:t>
        <a:bodyPr/>
        <a:lstStyle/>
        <a:p>
          <a:endParaRPr lang="en-US" sz="2000"/>
        </a:p>
      </dgm:t>
    </dgm:pt>
    <dgm:pt modelId="{959CD43C-BC93-44D5-AD71-730E4EB371C0}">
      <dgm:prSet custT="1"/>
      <dgm:spPr/>
      <dgm:t>
        <a:bodyPr/>
        <a:lstStyle/>
        <a:p>
          <a:pPr rtl="0">
            <a:spcAft>
              <a:spcPts val="600"/>
            </a:spcAft>
          </a:pPr>
          <a:r>
            <a:rPr lang="en-US" sz="2000" dirty="0">
              <a:solidFill>
                <a:schemeClr val="tx2"/>
              </a:solidFill>
            </a:rPr>
            <a:t>Condescending</a:t>
          </a:r>
          <a:br>
            <a:rPr lang="en-US" sz="2000" dirty="0">
              <a:solidFill>
                <a:schemeClr val="tx2"/>
              </a:solidFill>
            </a:rPr>
          </a:br>
          <a:r>
            <a:rPr lang="en-US" sz="2000" dirty="0">
              <a:solidFill>
                <a:schemeClr val="tx2"/>
              </a:solidFill>
            </a:rPr>
            <a:t>language/tone</a:t>
          </a:r>
        </a:p>
      </dgm:t>
    </dgm:pt>
    <dgm:pt modelId="{1F42688A-C006-41CA-BB9C-87FE0D1E5615}" type="parTrans" cxnId="{B702F4D6-1A5E-434D-A9FB-6E44B79BD28D}">
      <dgm:prSet/>
      <dgm:spPr/>
      <dgm:t>
        <a:bodyPr/>
        <a:lstStyle/>
        <a:p>
          <a:endParaRPr lang="en-US" sz="2000"/>
        </a:p>
      </dgm:t>
    </dgm:pt>
    <dgm:pt modelId="{389C98D6-9D61-451C-A5CD-04C303357D1D}" type="sibTrans" cxnId="{B702F4D6-1A5E-434D-A9FB-6E44B79BD28D}">
      <dgm:prSet/>
      <dgm:spPr/>
      <dgm:t>
        <a:bodyPr/>
        <a:lstStyle/>
        <a:p>
          <a:endParaRPr lang="en-US" sz="2000"/>
        </a:p>
      </dgm:t>
    </dgm:pt>
    <dgm:pt modelId="{9AD74992-FAE5-41A5-A74E-DB37AF756799}">
      <dgm:prSet custT="1"/>
      <dgm:spPr/>
      <dgm:t>
        <a:bodyPr/>
        <a:lstStyle/>
        <a:p>
          <a:pPr rtl="0">
            <a:spcAft>
              <a:spcPts val="1200"/>
            </a:spcAft>
          </a:pPr>
          <a:r>
            <a:rPr lang="en-US" sz="2000" dirty="0">
              <a:solidFill>
                <a:schemeClr val="tx2"/>
              </a:solidFill>
            </a:rPr>
            <a:t>Angry outbursts</a:t>
          </a:r>
        </a:p>
      </dgm:t>
    </dgm:pt>
    <dgm:pt modelId="{DB5E1AFC-2A9B-48FE-8FF5-7A4728FD0779}" type="sibTrans" cxnId="{43475CD5-DFF1-4373-BE51-9A3A38746D25}">
      <dgm:prSet/>
      <dgm:spPr/>
      <dgm:t>
        <a:bodyPr/>
        <a:lstStyle/>
        <a:p>
          <a:endParaRPr lang="en-US" sz="2000"/>
        </a:p>
      </dgm:t>
    </dgm:pt>
    <dgm:pt modelId="{F9D185F3-4795-4BFA-AB4B-62710ED90991}" type="parTrans" cxnId="{43475CD5-DFF1-4373-BE51-9A3A38746D25}">
      <dgm:prSet/>
      <dgm:spPr/>
      <dgm:t>
        <a:bodyPr/>
        <a:lstStyle/>
        <a:p>
          <a:endParaRPr lang="en-US" sz="2000"/>
        </a:p>
      </dgm:t>
    </dgm:pt>
    <dgm:pt modelId="{E32E9AAF-ABC8-4A76-88D5-B51C1638DB02}">
      <dgm:prSet custT="1"/>
      <dgm:spPr/>
      <dgm:t>
        <a:bodyPr/>
        <a:lstStyle/>
        <a:p>
          <a:pPr rtl="0">
            <a:spcAft>
              <a:spcPts val="1200"/>
            </a:spcAft>
          </a:pPr>
          <a:r>
            <a:rPr lang="en-US" sz="2000" dirty="0">
              <a:solidFill>
                <a:schemeClr val="tx2"/>
              </a:solidFill>
            </a:rPr>
            <a:t>Raised voice</a:t>
          </a:r>
        </a:p>
      </dgm:t>
    </dgm:pt>
    <dgm:pt modelId="{00152460-9FDE-4FAA-92CE-6991F5A7800E}" type="parTrans" cxnId="{ED84FFD7-A998-4CC4-9C56-7CA938F171F1}">
      <dgm:prSet/>
      <dgm:spPr/>
      <dgm:t>
        <a:bodyPr/>
        <a:lstStyle/>
        <a:p>
          <a:endParaRPr lang="en-US" sz="2000"/>
        </a:p>
      </dgm:t>
    </dgm:pt>
    <dgm:pt modelId="{69CC861C-1C25-4C75-ABC3-F7DC3DCB152E}" type="sibTrans" cxnId="{ED84FFD7-A998-4CC4-9C56-7CA938F171F1}">
      <dgm:prSet/>
      <dgm:spPr/>
      <dgm:t>
        <a:bodyPr/>
        <a:lstStyle/>
        <a:p>
          <a:endParaRPr lang="en-US" sz="2000"/>
        </a:p>
      </dgm:t>
    </dgm:pt>
    <dgm:pt modelId="{5CAB8408-9D8E-45B0-A570-C50266E62E30}">
      <dgm:prSet custT="1"/>
      <dgm:spPr/>
      <dgm:t>
        <a:bodyPr/>
        <a:lstStyle/>
        <a:p>
          <a:pPr rtl="0">
            <a:spcAft>
              <a:spcPts val="1200"/>
            </a:spcAft>
          </a:pPr>
          <a:r>
            <a:rPr lang="en-US" sz="2000">
              <a:solidFill>
                <a:schemeClr val="tx2"/>
              </a:solidFill>
            </a:rPr>
            <a:t>Demeaning </a:t>
          </a:r>
          <a:endParaRPr lang="en-US" sz="2000" dirty="0">
            <a:solidFill>
              <a:schemeClr val="tx2"/>
            </a:solidFill>
          </a:endParaRPr>
        </a:p>
      </dgm:t>
    </dgm:pt>
    <dgm:pt modelId="{E2E80710-977E-4977-8F3D-5E98D8519F4E}" type="parTrans" cxnId="{54BC8607-04DF-4FAC-8C12-B8FE425F12DB}">
      <dgm:prSet/>
      <dgm:spPr/>
      <dgm:t>
        <a:bodyPr/>
        <a:lstStyle/>
        <a:p>
          <a:endParaRPr lang="en-US" sz="2000"/>
        </a:p>
      </dgm:t>
    </dgm:pt>
    <dgm:pt modelId="{72848971-49A7-4C9C-972C-B548B83CD810}" type="sibTrans" cxnId="{54BC8607-04DF-4FAC-8C12-B8FE425F12DB}">
      <dgm:prSet/>
      <dgm:spPr/>
      <dgm:t>
        <a:bodyPr/>
        <a:lstStyle/>
        <a:p>
          <a:endParaRPr lang="en-US" sz="2000"/>
        </a:p>
      </dgm:t>
    </dgm:pt>
    <dgm:pt modelId="{15B69A1C-1FC6-4A35-8813-F75C9A5C3DAA}">
      <dgm:prSet custT="1"/>
      <dgm:spPr/>
      <dgm:t>
        <a:bodyPr/>
        <a:lstStyle/>
        <a:p>
          <a:pPr rtl="0">
            <a:spcAft>
              <a:spcPts val="1200"/>
            </a:spcAft>
          </a:pPr>
          <a:r>
            <a:rPr lang="en-US" sz="2000" dirty="0">
              <a:solidFill>
                <a:schemeClr val="tx2"/>
              </a:solidFill>
            </a:rPr>
            <a:t>Intimidation</a:t>
          </a:r>
        </a:p>
      </dgm:t>
    </dgm:pt>
    <dgm:pt modelId="{C49988A3-009C-463F-84D5-5304797CA612}" type="parTrans" cxnId="{E783E25E-CB78-41F7-A9E6-D16D7B4370B8}">
      <dgm:prSet/>
      <dgm:spPr/>
      <dgm:t>
        <a:bodyPr/>
        <a:lstStyle/>
        <a:p>
          <a:endParaRPr lang="en-US" sz="2000"/>
        </a:p>
      </dgm:t>
    </dgm:pt>
    <dgm:pt modelId="{0F382C52-5998-45CB-8E60-BA1543A4D7A4}" type="sibTrans" cxnId="{E783E25E-CB78-41F7-A9E6-D16D7B4370B8}">
      <dgm:prSet/>
      <dgm:spPr/>
      <dgm:t>
        <a:bodyPr/>
        <a:lstStyle/>
        <a:p>
          <a:endParaRPr lang="en-US" sz="2000"/>
        </a:p>
      </dgm:t>
    </dgm:pt>
    <dgm:pt modelId="{8F638750-DBDC-4706-885A-AC40EBD84F3F}">
      <dgm:prSet custT="1"/>
      <dgm:spPr/>
      <dgm:t>
        <a:bodyPr/>
        <a:lstStyle/>
        <a:p>
          <a:pPr rtl="0">
            <a:spcAft>
              <a:spcPts val="1200"/>
            </a:spcAft>
          </a:pPr>
          <a:r>
            <a:rPr lang="en-US" sz="2000">
              <a:solidFill>
                <a:schemeClr val="tx2"/>
              </a:solidFill>
            </a:rPr>
            <a:t>Public criticism</a:t>
          </a:r>
          <a:endParaRPr lang="en-US" sz="2000" dirty="0">
            <a:solidFill>
              <a:schemeClr val="tx2"/>
            </a:solidFill>
          </a:endParaRPr>
        </a:p>
      </dgm:t>
    </dgm:pt>
    <dgm:pt modelId="{7A17289E-E09C-4F59-93F5-BD76FBC2B99E}" type="parTrans" cxnId="{49CB4B2E-EFDE-4782-9299-0045A31CAF6F}">
      <dgm:prSet/>
      <dgm:spPr/>
      <dgm:t>
        <a:bodyPr/>
        <a:lstStyle/>
        <a:p>
          <a:endParaRPr lang="en-US" sz="2000"/>
        </a:p>
      </dgm:t>
    </dgm:pt>
    <dgm:pt modelId="{510A4A45-E294-4904-93AF-C8ED12A25F79}" type="sibTrans" cxnId="{49CB4B2E-EFDE-4782-9299-0045A31CAF6F}">
      <dgm:prSet/>
      <dgm:spPr/>
      <dgm:t>
        <a:bodyPr/>
        <a:lstStyle/>
        <a:p>
          <a:endParaRPr lang="en-US" sz="2000"/>
        </a:p>
      </dgm:t>
    </dgm:pt>
    <dgm:pt modelId="{4001A0CE-4D42-44C6-93D6-AB405C07F0A2}">
      <dgm:prSet custT="1"/>
      <dgm:spPr/>
      <dgm:t>
        <a:bodyPr/>
        <a:lstStyle/>
        <a:p>
          <a:pPr rtl="0">
            <a:spcAft>
              <a:spcPts val="1200"/>
            </a:spcAft>
          </a:pPr>
          <a:r>
            <a:rPr lang="en-US" sz="2000" dirty="0">
              <a:solidFill>
                <a:schemeClr val="tx2"/>
              </a:solidFill>
            </a:rPr>
            <a:t>Physical aggression</a:t>
          </a:r>
        </a:p>
      </dgm:t>
    </dgm:pt>
    <dgm:pt modelId="{0B871D63-3DEF-4607-B1D1-386B5B0125D6}" type="parTrans" cxnId="{8A0BAF47-97BF-4872-8779-89AE672298BF}">
      <dgm:prSet/>
      <dgm:spPr/>
      <dgm:t>
        <a:bodyPr/>
        <a:lstStyle/>
        <a:p>
          <a:endParaRPr lang="en-US" sz="2000"/>
        </a:p>
      </dgm:t>
    </dgm:pt>
    <dgm:pt modelId="{59A42941-F521-43A9-B3AF-CFE79488B74F}" type="sibTrans" cxnId="{8A0BAF47-97BF-4872-8779-89AE672298BF}">
      <dgm:prSet/>
      <dgm:spPr/>
      <dgm:t>
        <a:bodyPr/>
        <a:lstStyle/>
        <a:p>
          <a:endParaRPr lang="en-US" sz="2000"/>
        </a:p>
      </dgm:t>
    </dgm:pt>
    <dgm:pt modelId="{432C3BE1-7D8E-4395-8DA9-8D0DEC670F17}">
      <dgm:prSet custT="1"/>
      <dgm:spPr/>
      <dgm:t>
        <a:bodyPr/>
        <a:lstStyle/>
        <a:p>
          <a:pPr rtl="0">
            <a:spcAft>
              <a:spcPts val="600"/>
            </a:spcAft>
          </a:pPr>
          <a:r>
            <a:rPr lang="en-US" sz="2000" dirty="0">
              <a:solidFill>
                <a:schemeClr val="tx2"/>
              </a:solidFill>
            </a:rPr>
            <a:t>Physical violence</a:t>
          </a:r>
        </a:p>
      </dgm:t>
    </dgm:pt>
    <dgm:pt modelId="{89FDF724-2ADF-468D-8939-E44A143429A2}" type="parTrans" cxnId="{09244823-D991-4483-BAFD-5081DEFBD357}">
      <dgm:prSet/>
      <dgm:spPr/>
      <dgm:t>
        <a:bodyPr/>
        <a:lstStyle/>
        <a:p>
          <a:endParaRPr lang="en-US" sz="2000"/>
        </a:p>
      </dgm:t>
    </dgm:pt>
    <dgm:pt modelId="{EF5F18DD-F419-4298-ADE9-E6C5517824DD}" type="sibTrans" cxnId="{09244823-D991-4483-BAFD-5081DEFBD357}">
      <dgm:prSet/>
      <dgm:spPr/>
      <dgm:t>
        <a:bodyPr/>
        <a:lstStyle/>
        <a:p>
          <a:endParaRPr lang="en-US" sz="2000"/>
        </a:p>
      </dgm:t>
    </dgm:pt>
    <dgm:pt modelId="{9EAF8564-2805-43E5-9024-546FB802A91B}" type="pres">
      <dgm:prSet presAssocID="{3E3E983F-941C-486D-A197-FD567310A9DB}" presName="Name0" presStyleCnt="0">
        <dgm:presLayoutVars>
          <dgm:dir/>
          <dgm:animLvl val="lvl"/>
          <dgm:resizeHandles val="exact"/>
        </dgm:presLayoutVars>
      </dgm:prSet>
      <dgm:spPr/>
      <dgm:t>
        <a:bodyPr/>
        <a:lstStyle/>
        <a:p>
          <a:endParaRPr lang="en-US"/>
        </a:p>
      </dgm:t>
    </dgm:pt>
    <dgm:pt modelId="{45D6EA20-4951-4667-94CA-231BEE771A65}" type="pres">
      <dgm:prSet presAssocID="{9712993F-902A-4644-91E9-7BCB3E39FC1B}" presName="composite" presStyleCnt="0"/>
      <dgm:spPr/>
    </dgm:pt>
    <dgm:pt modelId="{335ED1CE-9165-4B52-8762-12C1114A7D5C}" type="pres">
      <dgm:prSet presAssocID="{9712993F-902A-4644-91E9-7BCB3E39FC1B}" presName="parTx" presStyleLbl="alignNode1" presStyleIdx="0" presStyleCnt="3">
        <dgm:presLayoutVars>
          <dgm:chMax val="0"/>
          <dgm:chPref val="0"/>
          <dgm:bulletEnabled val="1"/>
        </dgm:presLayoutVars>
      </dgm:prSet>
      <dgm:spPr/>
      <dgm:t>
        <a:bodyPr/>
        <a:lstStyle/>
        <a:p>
          <a:endParaRPr lang="en-US"/>
        </a:p>
      </dgm:t>
    </dgm:pt>
    <dgm:pt modelId="{C1DBF88B-1F22-4879-A2C0-3AB617FB727C}" type="pres">
      <dgm:prSet presAssocID="{9712993F-902A-4644-91E9-7BCB3E39FC1B}" presName="desTx" presStyleLbl="alignAccFollowNode1" presStyleIdx="0" presStyleCnt="3">
        <dgm:presLayoutVars>
          <dgm:bulletEnabled val="1"/>
        </dgm:presLayoutVars>
      </dgm:prSet>
      <dgm:spPr/>
      <dgm:t>
        <a:bodyPr/>
        <a:lstStyle/>
        <a:p>
          <a:endParaRPr lang="en-US"/>
        </a:p>
      </dgm:t>
    </dgm:pt>
    <dgm:pt modelId="{9E78CBB1-9189-41A7-BBC2-CAE80CC48A21}" type="pres">
      <dgm:prSet presAssocID="{58A7A150-2A48-4061-A6CE-92F29E76F112}" presName="space" presStyleCnt="0"/>
      <dgm:spPr/>
    </dgm:pt>
    <dgm:pt modelId="{782E3ACE-8611-4F87-B406-0FE529781ECC}" type="pres">
      <dgm:prSet presAssocID="{80B4FF69-2830-420B-91D3-A645953685DE}" presName="composite" presStyleCnt="0"/>
      <dgm:spPr/>
    </dgm:pt>
    <dgm:pt modelId="{74AB202D-FBA3-4811-B8CE-DB932B32FF56}" type="pres">
      <dgm:prSet presAssocID="{80B4FF69-2830-420B-91D3-A645953685DE}" presName="parTx" presStyleLbl="alignNode1" presStyleIdx="1" presStyleCnt="3">
        <dgm:presLayoutVars>
          <dgm:chMax val="0"/>
          <dgm:chPref val="0"/>
          <dgm:bulletEnabled val="1"/>
        </dgm:presLayoutVars>
      </dgm:prSet>
      <dgm:spPr/>
      <dgm:t>
        <a:bodyPr/>
        <a:lstStyle/>
        <a:p>
          <a:endParaRPr lang="en-US"/>
        </a:p>
      </dgm:t>
    </dgm:pt>
    <dgm:pt modelId="{13BD6FE0-A9EF-4E5F-8EE1-2A20ADE04DB3}" type="pres">
      <dgm:prSet presAssocID="{80B4FF69-2830-420B-91D3-A645953685DE}" presName="desTx" presStyleLbl="alignAccFollowNode1" presStyleIdx="1" presStyleCnt="3">
        <dgm:presLayoutVars>
          <dgm:bulletEnabled val="1"/>
        </dgm:presLayoutVars>
      </dgm:prSet>
      <dgm:spPr/>
      <dgm:t>
        <a:bodyPr/>
        <a:lstStyle/>
        <a:p>
          <a:endParaRPr lang="en-US"/>
        </a:p>
      </dgm:t>
    </dgm:pt>
    <dgm:pt modelId="{EC7CD704-ADB7-4454-B40E-AF5EF386E2B0}" type="pres">
      <dgm:prSet presAssocID="{30546D1D-DA54-47BB-BB71-13FB3804551C}" presName="space" presStyleCnt="0"/>
      <dgm:spPr/>
    </dgm:pt>
    <dgm:pt modelId="{8DF1FDD2-E1DD-4920-A041-E3BF29F23350}" type="pres">
      <dgm:prSet presAssocID="{8D7DFFF9-6CAC-46BF-B24C-665C19F79C4A}" presName="composite" presStyleCnt="0"/>
      <dgm:spPr/>
    </dgm:pt>
    <dgm:pt modelId="{9D80A9D4-BEA7-43E1-8F74-4034DD407FD7}" type="pres">
      <dgm:prSet presAssocID="{8D7DFFF9-6CAC-46BF-B24C-665C19F79C4A}" presName="parTx" presStyleLbl="alignNode1" presStyleIdx="2" presStyleCnt="3">
        <dgm:presLayoutVars>
          <dgm:chMax val="0"/>
          <dgm:chPref val="0"/>
          <dgm:bulletEnabled val="1"/>
        </dgm:presLayoutVars>
      </dgm:prSet>
      <dgm:spPr/>
      <dgm:t>
        <a:bodyPr/>
        <a:lstStyle/>
        <a:p>
          <a:endParaRPr lang="en-US"/>
        </a:p>
      </dgm:t>
    </dgm:pt>
    <dgm:pt modelId="{EC8EA4BF-19F7-4D2E-A8E0-1F533CD6A432}" type="pres">
      <dgm:prSet presAssocID="{8D7DFFF9-6CAC-46BF-B24C-665C19F79C4A}" presName="desTx" presStyleLbl="alignAccFollowNode1" presStyleIdx="2" presStyleCnt="3">
        <dgm:presLayoutVars>
          <dgm:bulletEnabled val="1"/>
        </dgm:presLayoutVars>
      </dgm:prSet>
      <dgm:spPr/>
      <dgm:t>
        <a:bodyPr/>
        <a:lstStyle/>
        <a:p>
          <a:endParaRPr lang="en-US"/>
        </a:p>
      </dgm:t>
    </dgm:pt>
  </dgm:ptLst>
  <dgm:cxnLst>
    <dgm:cxn modelId="{F18DB1D3-F9D2-42BE-AAE7-7D044981626C}" type="presOf" srcId="{4001A0CE-4D42-44C6-93D6-AB405C07F0A2}" destId="{EC8EA4BF-19F7-4D2E-A8E0-1F533CD6A432}" srcOrd="0" destOrd="5" presId="urn:microsoft.com/office/officeart/2005/8/layout/hList1"/>
    <dgm:cxn modelId="{BB86FDEF-4D8C-41A1-8AF8-50552164D8CA}" srcId="{80B4FF69-2830-420B-91D3-A645953685DE}" destId="{43742343-9491-4D74-B7EB-6C05E55A7E55}" srcOrd="2" destOrd="0" parTransId="{7536A9DC-43AC-4950-AAAA-D79D7BBA399D}" sibTransId="{14399160-5FEB-4202-844A-12C666C515AF}"/>
    <dgm:cxn modelId="{9D39A947-7B87-49BF-A0E1-BCDAD3074D34}" type="presOf" srcId="{80B4FF69-2830-420B-91D3-A645953685DE}" destId="{74AB202D-FBA3-4811-B8CE-DB932B32FF56}" srcOrd="0" destOrd="0" presId="urn:microsoft.com/office/officeart/2005/8/layout/hList1"/>
    <dgm:cxn modelId="{316F8EED-78FC-42E9-8BAD-6177DA72BF3B}" type="presOf" srcId="{15B69A1C-1FC6-4A35-8813-F75C9A5C3DAA}" destId="{EC8EA4BF-19F7-4D2E-A8E0-1F533CD6A432}" srcOrd="0" destOrd="3" presId="urn:microsoft.com/office/officeart/2005/8/layout/hList1"/>
    <dgm:cxn modelId="{A4580AEB-3F78-49C2-9FBE-363ED5106AD0}" srcId="{80B4FF69-2830-420B-91D3-A645953685DE}" destId="{0696EE0E-6BF0-4080-BD02-C0E99340230F}" srcOrd="3" destOrd="0" parTransId="{0D0CB64D-CE23-49A7-99C8-D4745AA4775B}" sibTransId="{F37A74DD-B65D-4E73-80CA-A323F67FEB4F}"/>
    <dgm:cxn modelId="{4C27D86C-EA39-4B83-9BC9-F611BC994DE6}" srcId="{9712993F-902A-4644-91E9-7BCB3E39FC1B}" destId="{985107A7-2EB5-4437-8D1A-C2AF462B4CB9}" srcOrd="0" destOrd="0" parTransId="{0FCB5636-C00F-428A-913B-38A027B66005}" sibTransId="{B6202B16-F43E-4B35-B718-05023DB81E4E}"/>
    <dgm:cxn modelId="{F45E6F28-5625-4BE5-8321-CE13D75D4D04}" type="presOf" srcId="{E32E9AAF-ABC8-4A76-88D5-B51C1638DB02}" destId="{EC8EA4BF-19F7-4D2E-A8E0-1F533CD6A432}" srcOrd="0" destOrd="1" presId="urn:microsoft.com/office/officeart/2005/8/layout/hList1"/>
    <dgm:cxn modelId="{EA2600F0-FB59-42F2-AAF6-ABC166A2D21A}" srcId="{3E3E983F-941C-486D-A197-FD567310A9DB}" destId="{8D7DFFF9-6CAC-46BF-B24C-665C19F79C4A}" srcOrd="2" destOrd="0" parTransId="{251B4469-01AC-40B3-8F63-6CA708CE2D1C}" sibTransId="{09C0BB36-1892-4850-9540-EFB759766BF0}"/>
    <dgm:cxn modelId="{2494BE1E-5D39-4533-87AC-D127233D1DAB}" type="presOf" srcId="{1FF859C0-5C63-4C1F-A2D6-996F3F01C085}" destId="{C1DBF88B-1F22-4879-A2C0-3AB617FB727C}" srcOrd="0" destOrd="1" presId="urn:microsoft.com/office/officeart/2005/8/layout/hList1"/>
    <dgm:cxn modelId="{54394BC1-906D-4B01-9841-A86214B8876F}" srcId="{9712993F-902A-4644-91E9-7BCB3E39FC1B}" destId="{297894E4-07D2-4DC5-AA95-40C0F20BA971}" srcOrd="4" destOrd="0" parTransId="{444F4E46-9FA0-4E02-BE3D-EB5CAF45F9BB}" sibTransId="{C057E335-8D26-4716-8297-32513A0E341B}"/>
    <dgm:cxn modelId="{8A0BAF47-97BF-4872-8779-89AE672298BF}" srcId="{8D7DFFF9-6CAC-46BF-B24C-665C19F79C4A}" destId="{4001A0CE-4D42-44C6-93D6-AB405C07F0A2}" srcOrd="5" destOrd="0" parTransId="{0B871D63-3DEF-4607-B1D1-386B5B0125D6}" sibTransId="{59A42941-F521-43A9-B3AF-CFE79488B74F}"/>
    <dgm:cxn modelId="{8C007662-651E-4B11-88F8-4A7B974E6D44}" type="presOf" srcId="{8D7DFFF9-6CAC-46BF-B24C-665C19F79C4A}" destId="{9D80A9D4-BEA7-43E1-8F74-4034DD407FD7}" srcOrd="0" destOrd="0" presId="urn:microsoft.com/office/officeart/2005/8/layout/hList1"/>
    <dgm:cxn modelId="{49CB4B2E-EFDE-4782-9299-0045A31CAF6F}" srcId="{8D7DFFF9-6CAC-46BF-B24C-665C19F79C4A}" destId="{8F638750-DBDC-4706-885A-AC40EBD84F3F}" srcOrd="4" destOrd="0" parTransId="{7A17289E-E09C-4F59-93F5-BD76FBC2B99E}" sibTransId="{510A4A45-E294-4904-93AF-C8ED12A25F79}"/>
    <dgm:cxn modelId="{BE0BB1AE-CEBE-435A-AD82-DE83FCFC9F70}" type="presOf" srcId="{432C3BE1-7D8E-4395-8DA9-8D0DEC670F17}" destId="{EC8EA4BF-19F7-4D2E-A8E0-1F533CD6A432}" srcOrd="0" destOrd="6" presId="urn:microsoft.com/office/officeart/2005/8/layout/hList1"/>
    <dgm:cxn modelId="{91A753FC-62B9-40FC-A020-9537A500276E}" type="presOf" srcId="{3E3E983F-941C-486D-A197-FD567310A9DB}" destId="{9EAF8564-2805-43E5-9024-546FB802A91B}" srcOrd="0" destOrd="0" presId="urn:microsoft.com/office/officeart/2005/8/layout/hList1"/>
    <dgm:cxn modelId="{5EA76C4E-8F38-45C6-9934-D81DF73CAEAF}" srcId="{80B4FF69-2830-420B-91D3-A645953685DE}" destId="{BE915125-75E3-4BC0-8C0C-BED134CF1FFD}" srcOrd="0" destOrd="0" parTransId="{F8D20B6E-1DFD-47C7-9D33-0DAA74C19B60}" sibTransId="{8451823C-F8B1-49BE-BEDC-D0BF62D2D722}"/>
    <dgm:cxn modelId="{B702F4D6-1A5E-434D-A9FB-6E44B79BD28D}" srcId="{80B4FF69-2830-420B-91D3-A645953685DE}" destId="{959CD43C-BC93-44D5-AD71-730E4EB371C0}" srcOrd="4" destOrd="0" parTransId="{1F42688A-C006-41CA-BB9C-87FE0D1E5615}" sibTransId="{389C98D6-9D61-451C-A5CD-04C303357D1D}"/>
    <dgm:cxn modelId="{C39135CB-457B-4710-9BF5-2B89DBC2465C}" type="presOf" srcId="{9AD74992-FAE5-41A5-A74E-DB37AF756799}" destId="{EC8EA4BF-19F7-4D2E-A8E0-1F533CD6A432}" srcOrd="0" destOrd="0" presId="urn:microsoft.com/office/officeart/2005/8/layout/hList1"/>
    <dgm:cxn modelId="{7BD14631-A88F-422A-B567-3D9449EFECFB}" type="presOf" srcId="{D0600D7F-C3AD-4347-A929-B6E31FCBDEB7}" destId="{C1DBF88B-1F22-4879-A2C0-3AB617FB727C}" srcOrd="0" destOrd="5" presId="urn:microsoft.com/office/officeart/2005/8/layout/hList1"/>
    <dgm:cxn modelId="{C4B8EB0F-937A-412B-B864-F99BEE042F76}" type="presOf" srcId="{0696EE0E-6BF0-4080-BD02-C0E99340230F}" destId="{13BD6FE0-A9EF-4E5F-8EE1-2A20ADE04DB3}" srcOrd="0" destOrd="3" presId="urn:microsoft.com/office/officeart/2005/8/layout/hList1"/>
    <dgm:cxn modelId="{9021E197-D4D6-4B34-A0DD-F15696C199C5}" srcId="{80B4FF69-2830-420B-91D3-A645953685DE}" destId="{3318DEFC-B197-4DAC-A0C0-9C194FAF318F}" srcOrd="1" destOrd="0" parTransId="{F8C81DC0-5E15-4445-B5A0-1FFD02BF4A9F}" sibTransId="{E5016DC0-0BDF-4BA3-A339-A7B4D05FC47B}"/>
    <dgm:cxn modelId="{7C78C60B-45F3-4A86-A9DA-8E618127CDF4}" srcId="{9712993F-902A-4644-91E9-7BCB3E39FC1B}" destId="{CC263AE8-9846-4881-9A21-727ADD835C7F}" srcOrd="2" destOrd="0" parTransId="{91245F89-C921-41BB-8210-2EC64BF94E26}" sibTransId="{BF226679-DFAB-4324-BE8C-7223F73EA8F9}"/>
    <dgm:cxn modelId="{E783E25E-CB78-41F7-A9E6-D16D7B4370B8}" srcId="{8D7DFFF9-6CAC-46BF-B24C-665C19F79C4A}" destId="{15B69A1C-1FC6-4A35-8813-F75C9A5C3DAA}" srcOrd="3" destOrd="0" parTransId="{C49988A3-009C-463F-84D5-5304797CA612}" sibTransId="{0F382C52-5998-45CB-8E60-BA1543A4D7A4}"/>
    <dgm:cxn modelId="{43475CD5-DFF1-4373-BE51-9A3A38746D25}" srcId="{8D7DFFF9-6CAC-46BF-B24C-665C19F79C4A}" destId="{9AD74992-FAE5-41A5-A74E-DB37AF756799}" srcOrd="0" destOrd="0" parTransId="{F9D185F3-4795-4BFA-AB4B-62710ED90991}" sibTransId="{DB5E1AFC-2A9B-48FE-8FF5-7A4728FD0779}"/>
    <dgm:cxn modelId="{39906CF2-3684-4B61-85A3-A8C8514526C9}" type="presOf" srcId="{297894E4-07D2-4DC5-AA95-40C0F20BA971}" destId="{C1DBF88B-1F22-4879-A2C0-3AB617FB727C}" srcOrd="0" destOrd="4" presId="urn:microsoft.com/office/officeart/2005/8/layout/hList1"/>
    <dgm:cxn modelId="{3F76E67B-DAAF-4A33-9D09-C1DED2FB9C73}" type="presOf" srcId="{B4E125F3-4AD8-43F7-8AD8-6F1D4017D9DC}" destId="{C1DBF88B-1F22-4879-A2C0-3AB617FB727C}" srcOrd="0" destOrd="3" presId="urn:microsoft.com/office/officeart/2005/8/layout/hList1"/>
    <dgm:cxn modelId="{EC4A344D-7B95-41CE-96C0-1630A30A338A}" type="presOf" srcId="{985107A7-2EB5-4437-8D1A-C2AF462B4CB9}" destId="{C1DBF88B-1F22-4879-A2C0-3AB617FB727C}" srcOrd="0" destOrd="0" presId="urn:microsoft.com/office/officeart/2005/8/layout/hList1"/>
    <dgm:cxn modelId="{01508B51-FE3D-41D3-8291-4776E23CA1EB}" type="presOf" srcId="{CC263AE8-9846-4881-9A21-727ADD835C7F}" destId="{C1DBF88B-1F22-4879-A2C0-3AB617FB727C}" srcOrd="0" destOrd="2" presId="urn:microsoft.com/office/officeart/2005/8/layout/hList1"/>
    <dgm:cxn modelId="{2753050C-02EE-4F54-B707-CE21DAFD6FAF}" type="presOf" srcId="{9712993F-902A-4644-91E9-7BCB3E39FC1B}" destId="{335ED1CE-9165-4B52-8762-12C1114A7D5C}" srcOrd="0" destOrd="0" presId="urn:microsoft.com/office/officeart/2005/8/layout/hList1"/>
    <dgm:cxn modelId="{D2254B4B-A573-4CA9-A227-6A15F7967161}" srcId="{9712993F-902A-4644-91E9-7BCB3E39FC1B}" destId="{5A18D6A9-F669-4A11-819D-6333DCC44884}" srcOrd="6" destOrd="0" parTransId="{306FD638-E528-4E78-BA8A-BB2E8572BC90}" sibTransId="{CDEC4020-AA43-47D4-9D3A-2AFF8145AFD5}"/>
    <dgm:cxn modelId="{9091D72C-4D83-472D-B8F6-AE3CB48EAC49}" type="presOf" srcId="{5CAB8408-9D8E-45B0-A570-C50266E62E30}" destId="{EC8EA4BF-19F7-4D2E-A8E0-1F533CD6A432}" srcOrd="0" destOrd="2" presId="urn:microsoft.com/office/officeart/2005/8/layout/hList1"/>
    <dgm:cxn modelId="{2B1740C3-5119-4F04-8466-21C1AB249C3A}" srcId="{3E3E983F-941C-486D-A197-FD567310A9DB}" destId="{9712993F-902A-4644-91E9-7BCB3E39FC1B}" srcOrd="0" destOrd="0" parTransId="{D56322C8-9897-435D-9D2F-E223FB297F0D}" sibTransId="{58A7A150-2A48-4061-A6CE-92F29E76F112}"/>
    <dgm:cxn modelId="{71BF17EB-CB57-4F9F-8D2A-89A3D6EEDFC7}" type="presOf" srcId="{3318DEFC-B197-4DAC-A0C0-9C194FAF318F}" destId="{13BD6FE0-A9EF-4E5F-8EE1-2A20ADE04DB3}" srcOrd="0" destOrd="1" presId="urn:microsoft.com/office/officeart/2005/8/layout/hList1"/>
    <dgm:cxn modelId="{ED84FFD7-A998-4CC4-9C56-7CA938F171F1}" srcId="{8D7DFFF9-6CAC-46BF-B24C-665C19F79C4A}" destId="{E32E9AAF-ABC8-4A76-88D5-B51C1638DB02}" srcOrd="1" destOrd="0" parTransId="{00152460-9FDE-4FAA-92CE-6991F5A7800E}" sibTransId="{69CC861C-1C25-4C75-ABC3-F7DC3DCB152E}"/>
    <dgm:cxn modelId="{4655848C-D0A3-46B8-9025-4755D614E4F7}" srcId="{9712993F-902A-4644-91E9-7BCB3E39FC1B}" destId="{B4E125F3-4AD8-43F7-8AD8-6F1D4017D9DC}" srcOrd="3" destOrd="0" parTransId="{06CE1381-1967-4B5D-AB7B-699DEB4D2875}" sibTransId="{42B82BC5-8C1C-4B37-9FCA-91BC1A43E00A}"/>
    <dgm:cxn modelId="{3DC4FF51-A584-4BA1-AD0B-CF5868EDDC87}" type="presOf" srcId="{8F638750-DBDC-4706-885A-AC40EBD84F3F}" destId="{EC8EA4BF-19F7-4D2E-A8E0-1F533CD6A432}" srcOrd="0" destOrd="4" presId="urn:microsoft.com/office/officeart/2005/8/layout/hList1"/>
    <dgm:cxn modelId="{D01EE042-DDAA-435D-AC64-A89DE05A6D7B}" srcId="{9712993F-902A-4644-91E9-7BCB3E39FC1B}" destId="{1FF859C0-5C63-4C1F-A2D6-996F3F01C085}" srcOrd="1" destOrd="0" parTransId="{580453A6-62CF-42A2-90E6-C33940C3D33C}" sibTransId="{F524C66D-C6F4-4F6E-8763-5430E511763B}"/>
    <dgm:cxn modelId="{EE4AFD00-7EC2-4372-8664-7F31BB502EDD}" type="presOf" srcId="{43742343-9491-4D74-B7EB-6C05E55A7E55}" destId="{13BD6FE0-A9EF-4E5F-8EE1-2A20ADE04DB3}" srcOrd="0" destOrd="2" presId="urn:microsoft.com/office/officeart/2005/8/layout/hList1"/>
    <dgm:cxn modelId="{54BC8607-04DF-4FAC-8C12-B8FE425F12DB}" srcId="{8D7DFFF9-6CAC-46BF-B24C-665C19F79C4A}" destId="{5CAB8408-9D8E-45B0-A570-C50266E62E30}" srcOrd="2" destOrd="0" parTransId="{E2E80710-977E-4977-8F3D-5E98D8519F4E}" sibTransId="{72848971-49A7-4C9C-972C-B548B83CD810}"/>
    <dgm:cxn modelId="{B49B810B-F9B4-4689-88D4-546511B4FECF}" type="presOf" srcId="{959CD43C-BC93-44D5-AD71-730E4EB371C0}" destId="{13BD6FE0-A9EF-4E5F-8EE1-2A20ADE04DB3}" srcOrd="0" destOrd="4" presId="urn:microsoft.com/office/officeart/2005/8/layout/hList1"/>
    <dgm:cxn modelId="{A03597F8-BB22-4239-B0C5-4530771C4E20}" type="presOf" srcId="{5A18D6A9-F669-4A11-819D-6333DCC44884}" destId="{C1DBF88B-1F22-4879-A2C0-3AB617FB727C}" srcOrd="0" destOrd="6" presId="urn:microsoft.com/office/officeart/2005/8/layout/hList1"/>
    <dgm:cxn modelId="{2F4A1533-CEB6-45C9-AAE3-0271F2C1A93D}" srcId="{9712993F-902A-4644-91E9-7BCB3E39FC1B}" destId="{D0600D7F-C3AD-4347-A929-B6E31FCBDEB7}" srcOrd="5" destOrd="0" parTransId="{8DE30668-FF02-4E8A-951D-F3CEAC3DBF40}" sibTransId="{A94AB5EF-8988-42B1-A77F-DB0C12DF7F11}"/>
    <dgm:cxn modelId="{BC011880-4745-412E-B523-92AF9070A9D1}" type="presOf" srcId="{BE915125-75E3-4BC0-8C0C-BED134CF1FFD}" destId="{13BD6FE0-A9EF-4E5F-8EE1-2A20ADE04DB3}" srcOrd="0" destOrd="0" presId="urn:microsoft.com/office/officeart/2005/8/layout/hList1"/>
    <dgm:cxn modelId="{BDC47756-FEC7-4F2A-B5BE-C859AB33E50F}" srcId="{3E3E983F-941C-486D-A197-FD567310A9DB}" destId="{80B4FF69-2830-420B-91D3-A645953685DE}" srcOrd="1" destOrd="0" parTransId="{CD35E365-1ECC-44A3-8036-6D51AFA642E2}" sibTransId="{30546D1D-DA54-47BB-BB71-13FB3804551C}"/>
    <dgm:cxn modelId="{09244823-D991-4483-BAFD-5081DEFBD357}" srcId="{8D7DFFF9-6CAC-46BF-B24C-665C19F79C4A}" destId="{432C3BE1-7D8E-4395-8DA9-8D0DEC670F17}" srcOrd="6" destOrd="0" parTransId="{89FDF724-2ADF-468D-8939-E44A143429A2}" sibTransId="{EF5F18DD-F419-4298-ADE9-E6C5517824DD}"/>
    <dgm:cxn modelId="{1789CD1F-88C6-490E-94D1-EF82675FA6AD}" type="presParOf" srcId="{9EAF8564-2805-43E5-9024-546FB802A91B}" destId="{45D6EA20-4951-4667-94CA-231BEE771A65}" srcOrd="0" destOrd="0" presId="urn:microsoft.com/office/officeart/2005/8/layout/hList1"/>
    <dgm:cxn modelId="{66A16F8E-276D-45A1-BF7B-DBFE368A7361}" type="presParOf" srcId="{45D6EA20-4951-4667-94CA-231BEE771A65}" destId="{335ED1CE-9165-4B52-8762-12C1114A7D5C}" srcOrd="0" destOrd="0" presId="urn:microsoft.com/office/officeart/2005/8/layout/hList1"/>
    <dgm:cxn modelId="{BA5E915B-8B9F-44D4-96C9-375033CB2C89}" type="presParOf" srcId="{45D6EA20-4951-4667-94CA-231BEE771A65}" destId="{C1DBF88B-1F22-4879-A2C0-3AB617FB727C}" srcOrd="1" destOrd="0" presId="urn:microsoft.com/office/officeart/2005/8/layout/hList1"/>
    <dgm:cxn modelId="{D169D38A-0268-49E7-BDE5-A1BD49D137A0}" type="presParOf" srcId="{9EAF8564-2805-43E5-9024-546FB802A91B}" destId="{9E78CBB1-9189-41A7-BBC2-CAE80CC48A21}" srcOrd="1" destOrd="0" presId="urn:microsoft.com/office/officeart/2005/8/layout/hList1"/>
    <dgm:cxn modelId="{A27FDDFA-EF64-4A3D-B09D-0450176FDA65}" type="presParOf" srcId="{9EAF8564-2805-43E5-9024-546FB802A91B}" destId="{782E3ACE-8611-4F87-B406-0FE529781ECC}" srcOrd="2" destOrd="0" presId="urn:microsoft.com/office/officeart/2005/8/layout/hList1"/>
    <dgm:cxn modelId="{374220F9-DB60-450E-AB46-F8B3526002D3}" type="presParOf" srcId="{782E3ACE-8611-4F87-B406-0FE529781ECC}" destId="{74AB202D-FBA3-4811-B8CE-DB932B32FF56}" srcOrd="0" destOrd="0" presId="urn:microsoft.com/office/officeart/2005/8/layout/hList1"/>
    <dgm:cxn modelId="{1D74B3B3-64FA-4B95-9DA0-093CE1DBD230}" type="presParOf" srcId="{782E3ACE-8611-4F87-B406-0FE529781ECC}" destId="{13BD6FE0-A9EF-4E5F-8EE1-2A20ADE04DB3}" srcOrd="1" destOrd="0" presId="urn:microsoft.com/office/officeart/2005/8/layout/hList1"/>
    <dgm:cxn modelId="{4CE611EF-775D-4EC4-A0D4-4A3E85886C9D}" type="presParOf" srcId="{9EAF8564-2805-43E5-9024-546FB802A91B}" destId="{EC7CD704-ADB7-4454-B40E-AF5EF386E2B0}" srcOrd="3" destOrd="0" presId="urn:microsoft.com/office/officeart/2005/8/layout/hList1"/>
    <dgm:cxn modelId="{B60D8F00-A0F0-4DFB-BBE8-6411FCBFF706}" type="presParOf" srcId="{9EAF8564-2805-43E5-9024-546FB802A91B}" destId="{8DF1FDD2-E1DD-4920-A041-E3BF29F23350}" srcOrd="4" destOrd="0" presId="urn:microsoft.com/office/officeart/2005/8/layout/hList1"/>
    <dgm:cxn modelId="{AD0E5F3D-E149-4637-A052-608DAFDF45EC}" type="presParOf" srcId="{8DF1FDD2-E1DD-4920-A041-E3BF29F23350}" destId="{9D80A9D4-BEA7-43E1-8F74-4034DD407FD7}" srcOrd="0" destOrd="0" presId="urn:microsoft.com/office/officeart/2005/8/layout/hList1"/>
    <dgm:cxn modelId="{01D12C03-72AA-41B9-AB34-3DC0441F7956}" type="presParOf" srcId="{8DF1FDD2-E1DD-4920-A041-E3BF29F23350}" destId="{EC8EA4BF-19F7-4D2E-A8E0-1F533CD6A432}" srcOrd="1" destOrd="0" presId="urn:microsoft.com/office/officeart/2005/8/layout/h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01660AF-0431-4695-9B28-935939ACCD6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AD9E99F-60C0-4963-AF48-74215A2322F1}">
      <dgm:prSet phldrT="[Text]" custT="1"/>
      <dgm:spPr>
        <a:solidFill>
          <a:srgbClr val="02205F"/>
        </a:solidFill>
      </dgm:spPr>
      <dgm:t>
        <a:bodyPr/>
        <a:lstStyle/>
        <a:p>
          <a:r>
            <a:rPr lang="en-US" sz="1800" dirty="0"/>
            <a:t>70% indicated physician disruptive behavior occurs monthly in their organizations </a:t>
          </a:r>
        </a:p>
      </dgm:t>
    </dgm:pt>
    <dgm:pt modelId="{FD8CF851-2264-4457-9756-CAA59FF9EA52}" type="parTrans" cxnId="{AD6FD802-2E83-4445-8935-26596CECCC20}">
      <dgm:prSet/>
      <dgm:spPr/>
      <dgm:t>
        <a:bodyPr/>
        <a:lstStyle/>
        <a:p>
          <a:endParaRPr lang="en-US" sz="1800"/>
        </a:p>
      </dgm:t>
    </dgm:pt>
    <dgm:pt modelId="{52A94826-27A5-4FD4-A425-E7023C97E9E0}" type="sibTrans" cxnId="{AD6FD802-2E83-4445-8935-26596CECCC20}">
      <dgm:prSet/>
      <dgm:spPr/>
      <dgm:t>
        <a:bodyPr/>
        <a:lstStyle/>
        <a:p>
          <a:endParaRPr lang="en-US" sz="1800"/>
        </a:p>
      </dgm:t>
    </dgm:pt>
    <dgm:pt modelId="{88CD4120-79E5-41E8-8C6D-856E864068E0}">
      <dgm:prSet custT="1"/>
      <dgm:spPr/>
      <dgm:t>
        <a:bodyPr/>
        <a:lstStyle/>
        <a:p>
          <a:pPr>
            <a:lnSpc>
              <a:spcPct val="100000"/>
            </a:lnSpc>
            <a:spcAft>
              <a:spcPts val="600"/>
            </a:spcAft>
          </a:pPr>
          <a:r>
            <a:rPr lang="en-US" sz="1800" dirty="0">
              <a:solidFill>
                <a:schemeClr val="tx2"/>
              </a:solidFill>
            </a:rPr>
            <a:t>59% encountered degrading comments or insults</a:t>
          </a:r>
        </a:p>
      </dgm:t>
    </dgm:pt>
    <dgm:pt modelId="{635AC25B-87ED-4E05-8A6F-B926148B21C5}" type="parTrans" cxnId="{DAB72915-C0EA-4CB8-8462-E19FE65AB359}">
      <dgm:prSet/>
      <dgm:spPr/>
      <dgm:t>
        <a:bodyPr/>
        <a:lstStyle/>
        <a:p>
          <a:endParaRPr lang="en-US" sz="1800"/>
        </a:p>
      </dgm:t>
    </dgm:pt>
    <dgm:pt modelId="{DF3F1FD8-12EE-4CE0-908D-4CB7CE261021}" type="sibTrans" cxnId="{DAB72915-C0EA-4CB8-8462-E19FE65AB359}">
      <dgm:prSet/>
      <dgm:spPr/>
      <dgm:t>
        <a:bodyPr/>
        <a:lstStyle/>
        <a:p>
          <a:endParaRPr lang="en-US" sz="1800"/>
        </a:p>
      </dgm:t>
    </dgm:pt>
    <dgm:pt modelId="{BE457C22-94EB-443F-AA64-88350F2FE6CE}">
      <dgm:prSet custT="1"/>
      <dgm:spPr/>
      <dgm:t>
        <a:bodyPr/>
        <a:lstStyle/>
        <a:p>
          <a:pPr>
            <a:lnSpc>
              <a:spcPct val="100000"/>
            </a:lnSpc>
            <a:spcAft>
              <a:spcPts val="600"/>
            </a:spcAft>
          </a:pPr>
          <a:r>
            <a:rPr lang="en-US" sz="1800" dirty="0">
              <a:solidFill>
                <a:schemeClr val="tx2"/>
              </a:solidFill>
            </a:rPr>
            <a:t>55% encountered failure to follow established protocols</a:t>
          </a:r>
        </a:p>
      </dgm:t>
    </dgm:pt>
    <dgm:pt modelId="{29D00854-D832-4489-A867-B382F83047FF}" type="parTrans" cxnId="{2B583A8D-B26F-4C02-B169-91F4572537B5}">
      <dgm:prSet/>
      <dgm:spPr/>
      <dgm:t>
        <a:bodyPr/>
        <a:lstStyle/>
        <a:p>
          <a:endParaRPr lang="en-US" sz="1800"/>
        </a:p>
      </dgm:t>
    </dgm:pt>
    <dgm:pt modelId="{4BDC9872-9A0C-4067-AEDD-15A2E5AB0C3A}" type="sibTrans" cxnId="{2B583A8D-B26F-4C02-B169-91F4572537B5}">
      <dgm:prSet/>
      <dgm:spPr/>
      <dgm:t>
        <a:bodyPr/>
        <a:lstStyle/>
        <a:p>
          <a:endParaRPr lang="en-US" sz="1800"/>
        </a:p>
      </dgm:t>
    </dgm:pt>
    <dgm:pt modelId="{38DD8734-15B9-4244-B430-F84E298A87F1}">
      <dgm:prSet custT="1"/>
      <dgm:spPr/>
      <dgm:t>
        <a:bodyPr/>
        <a:lstStyle/>
        <a:p>
          <a:pPr>
            <a:lnSpc>
              <a:spcPct val="100000"/>
            </a:lnSpc>
            <a:spcAft>
              <a:spcPts val="600"/>
            </a:spcAft>
          </a:pPr>
          <a:r>
            <a:rPr lang="en-US" sz="1800" dirty="0">
              <a:solidFill>
                <a:schemeClr val="tx2"/>
              </a:solidFill>
            </a:rPr>
            <a:t>54% encountered refusal to cooperate</a:t>
          </a:r>
        </a:p>
      </dgm:t>
    </dgm:pt>
    <dgm:pt modelId="{081FCA28-8F41-4D25-9089-E84E5991C522}" type="parTrans" cxnId="{9A2974EA-462E-4648-B640-747A39AA2BDB}">
      <dgm:prSet/>
      <dgm:spPr/>
      <dgm:t>
        <a:bodyPr/>
        <a:lstStyle/>
        <a:p>
          <a:endParaRPr lang="en-US" sz="1800"/>
        </a:p>
      </dgm:t>
    </dgm:pt>
    <dgm:pt modelId="{61F3D714-930F-45C1-BC76-F32D4821A432}" type="sibTrans" cxnId="{9A2974EA-462E-4648-B640-747A39AA2BDB}">
      <dgm:prSet/>
      <dgm:spPr/>
      <dgm:t>
        <a:bodyPr/>
        <a:lstStyle/>
        <a:p>
          <a:endParaRPr lang="en-US" sz="1800"/>
        </a:p>
      </dgm:t>
    </dgm:pt>
    <dgm:pt modelId="{3137CE88-39D9-4BA9-8826-0EB6A7085C9E}">
      <dgm:prSet custT="1"/>
      <dgm:spPr>
        <a:solidFill>
          <a:srgbClr val="005EC0"/>
        </a:solidFill>
      </dgm:spPr>
      <dgm:t>
        <a:bodyPr/>
        <a:lstStyle/>
        <a:p>
          <a:r>
            <a:rPr lang="en-US" sz="1800"/>
            <a:t>26% engaged in disruptive behavior at least one time; two most common contributors were workload and learned behaviors</a:t>
          </a:r>
          <a:endParaRPr lang="en-US" sz="1800" dirty="0"/>
        </a:p>
      </dgm:t>
    </dgm:pt>
    <dgm:pt modelId="{6C05DE7C-1D01-424A-85BB-D54322AC092D}" type="parTrans" cxnId="{2F93EDD9-3A93-4021-92BF-A0DD4B1A8523}">
      <dgm:prSet/>
      <dgm:spPr/>
      <dgm:t>
        <a:bodyPr/>
        <a:lstStyle/>
        <a:p>
          <a:endParaRPr lang="en-US" sz="1800"/>
        </a:p>
      </dgm:t>
    </dgm:pt>
    <dgm:pt modelId="{42FB26AF-35A5-4B03-BF87-2D72B3D23A22}" type="sibTrans" cxnId="{2F93EDD9-3A93-4021-92BF-A0DD4B1A8523}">
      <dgm:prSet/>
      <dgm:spPr/>
      <dgm:t>
        <a:bodyPr/>
        <a:lstStyle/>
        <a:p>
          <a:endParaRPr lang="en-US" sz="1800"/>
        </a:p>
      </dgm:t>
    </dgm:pt>
    <dgm:pt modelId="{98BE1EFD-EBB6-4474-B1B5-4CC0DF17EBDE}">
      <dgm:prSet custT="1"/>
      <dgm:spPr>
        <a:solidFill>
          <a:schemeClr val="accent3"/>
        </a:solidFill>
      </dgm:spPr>
      <dgm:t>
        <a:bodyPr/>
        <a:lstStyle/>
        <a:p>
          <a:r>
            <a:rPr lang="en-US" sz="1800"/>
            <a:t>50% have seen patients change physicians or leave the practice</a:t>
          </a:r>
          <a:endParaRPr lang="en-US" sz="1800" dirty="0"/>
        </a:p>
      </dgm:t>
    </dgm:pt>
    <dgm:pt modelId="{3665CFF3-26E3-40D5-8650-40F117CC13C0}" type="parTrans" cxnId="{A8408E1F-774B-41DA-A181-990A93C9C820}">
      <dgm:prSet/>
      <dgm:spPr/>
      <dgm:t>
        <a:bodyPr/>
        <a:lstStyle/>
        <a:p>
          <a:endParaRPr lang="en-US" sz="1800"/>
        </a:p>
      </dgm:t>
    </dgm:pt>
    <dgm:pt modelId="{1CD8B3BB-1986-4A07-8255-80E3409EE01C}" type="sibTrans" cxnId="{A8408E1F-774B-41DA-A181-990A93C9C820}">
      <dgm:prSet/>
      <dgm:spPr/>
      <dgm:t>
        <a:bodyPr/>
        <a:lstStyle/>
        <a:p>
          <a:endParaRPr lang="en-US" sz="1800"/>
        </a:p>
      </dgm:t>
    </dgm:pt>
    <dgm:pt modelId="{D746B739-D89B-46B7-A44D-D9BFAA5182EF}">
      <dgm:prSet custT="1"/>
      <dgm:spPr>
        <a:solidFill>
          <a:schemeClr val="accent2"/>
        </a:solidFill>
      </dgm:spPr>
      <dgm:t>
        <a:bodyPr/>
        <a:lstStyle/>
        <a:p>
          <a:r>
            <a:rPr lang="en-US" sz="1800" dirty="0"/>
            <a:t>90% believe disruptive behavior affects patient care (always, sometimes)</a:t>
          </a:r>
        </a:p>
      </dgm:t>
    </dgm:pt>
    <dgm:pt modelId="{E14EA30A-8ACC-44B9-B60D-4F921DCB60FF}" type="parTrans" cxnId="{3E44DD2E-C521-4FEC-965E-8D409EB7B9C7}">
      <dgm:prSet/>
      <dgm:spPr/>
      <dgm:t>
        <a:bodyPr/>
        <a:lstStyle/>
        <a:p>
          <a:endParaRPr lang="en-US" sz="1800"/>
        </a:p>
      </dgm:t>
    </dgm:pt>
    <dgm:pt modelId="{6A522717-A7F4-4F83-A4D7-F846ECE35A90}" type="sibTrans" cxnId="{3E44DD2E-C521-4FEC-965E-8D409EB7B9C7}">
      <dgm:prSet/>
      <dgm:spPr/>
      <dgm:t>
        <a:bodyPr/>
        <a:lstStyle/>
        <a:p>
          <a:endParaRPr lang="en-US" sz="1800"/>
        </a:p>
      </dgm:t>
    </dgm:pt>
    <dgm:pt modelId="{19BFAA9A-F15C-458F-9519-CA438C484FCA}" type="pres">
      <dgm:prSet presAssocID="{301660AF-0431-4695-9B28-935939ACCD61}" presName="linear" presStyleCnt="0">
        <dgm:presLayoutVars>
          <dgm:animLvl val="lvl"/>
          <dgm:resizeHandles val="exact"/>
        </dgm:presLayoutVars>
      </dgm:prSet>
      <dgm:spPr/>
      <dgm:t>
        <a:bodyPr/>
        <a:lstStyle/>
        <a:p>
          <a:endParaRPr lang="en-US"/>
        </a:p>
      </dgm:t>
    </dgm:pt>
    <dgm:pt modelId="{995F1F29-E90E-438C-B065-8F7B4758A705}" type="pres">
      <dgm:prSet presAssocID="{DAD9E99F-60C0-4963-AF48-74215A2322F1}" presName="parentText" presStyleLbl="node1" presStyleIdx="0" presStyleCnt="4">
        <dgm:presLayoutVars>
          <dgm:chMax val="0"/>
          <dgm:bulletEnabled val="1"/>
        </dgm:presLayoutVars>
      </dgm:prSet>
      <dgm:spPr/>
      <dgm:t>
        <a:bodyPr/>
        <a:lstStyle/>
        <a:p>
          <a:endParaRPr lang="en-US"/>
        </a:p>
      </dgm:t>
    </dgm:pt>
    <dgm:pt modelId="{A59986C5-6334-4328-90F9-98BDDEC8613F}" type="pres">
      <dgm:prSet presAssocID="{DAD9E99F-60C0-4963-AF48-74215A2322F1}" presName="childText" presStyleLbl="revTx" presStyleIdx="0" presStyleCnt="1">
        <dgm:presLayoutVars>
          <dgm:bulletEnabled val="1"/>
        </dgm:presLayoutVars>
      </dgm:prSet>
      <dgm:spPr/>
      <dgm:t>
        <a:bodyPr/>
        <a:lstStyle/>
        <a:p>
          <a:endParaRPr lang="en-US"/>
        </a:p>
      </dgm:t>
    </dgm:pt>
    <dgm:pt modelId="{87F1BE67-8D4D-42E2-B366-076D930D3FF6}" type="pres">
      <dgm:prSet presAssocID="{3137CE88-39D9-4BA9-8826-0EB6A7085C9E}" presName="parentText" presStyleLbl="node1" presStyleIdx="1" presStyleCnt="4">
        <dgm:presLayoutVars>
          <dgm:chMax val="0"/>
          <dgm:bulletEnabled val="1"/>
        </dgm:presLayoutVars>
      </dgm:prSet>
      <dgm:spPr/>
      <dgm:t>
        <a:bodyPr/>
        <a:lstStyle/>
        <a:p>
          <a:endParaRPr lang="en-US"/>
        </a:p>
      </dgm:t>
    </dgm:pt>
    <dgm:pt modelId="{56D0D38A-D4C3-4A40-B00B-E6DC31E19095}" type="pres">
      <dgm:prSet presAssocID="{42FB26AF-35A5-4B03-BF87-2D72B3D23A22}" presName="spacer" presStyleCnt="0"/>
      <dgm:spPr/>
    </dgm:pt>
    <dgm:pt modelId="{3B6345D2-2187-406D-9FF8-C9A845D752E6}" type="pres">
      <dgm:prSet presAssocID="{98BE1EFD-EBB6-4474-B1B5-4CC0DF17EBDE}" presName="parentText" presStyleLbl="node1" presStyleIdx="2" presStyleCnt="4">
        <dgm:presLayoutVars>
          <dgm:chMax val="0"/>
          <dgm:bulletEnabled val="1"/>
        </dgm:presLayoutVars>
      </dgm:prSet>
      <dgm:spPr/>
      <dgm:t>
        <a:bodyPr/>
        <a:lstStyle/>
        <a:p>
          <a:endParaRPr lang="en-US"/>
        </a:p>
      </dgm:t>
    </dgm:pt>
    <dgm:pt modelId="{8689E530-1818-43B8-9CEE-744B01A60B81}" type="pres">
      <dgm:prSet presAssocID="{1CD8B3BB-1986-4A07-8255-80E3409EE01C}" presName="spacer" presStyleCnt="0"/>
      <dgm:spPr/>
    </dgm:pt>
    <dgm:pt modelId="{6444035B-23F5-4F5D-820E-AFF562C15C00}" type="pres">
      <dgm:prSet presAssocID="{D746B739-D89B-46B7-A44D-D9BFAA5182EF}" presName="parentText" presStyleLbl="node1" presStyleIdx="3" presStyleCnt="4">
        <dgm:presLayoutVars>
          <dgm:chMax val="0"/>
          <dgm:bulletEnabled val="1"/>
        </dgm:presLayoutVars>
      </dgm:prSet>
      <dgm:spPr/>
      <dgm:t>
        <a:bodyPr/>
        <a:lstStyle/>
        <a:p>
          <a:endParaRPr lang="en-US"/>
        </a:p>
      </dgm:t>
    </dgm:pt>
  </dgm:ptLst>
  <dgm:cxnLst>
    <dgm:cxn modelId="{DAB72915-C0EA-4CB8-8462-E19FE65AB359}" srcId="{DAD9E99F-60C0-4963-AF48-74215A2322F1}" destId="{88CD4120-79E5-41E8-8C6D-856E864068E0}" srcOrd="0" destOrd="0" parTransId="{635AC25B-87ED-4E05-8A6F-B926148B21C5}" sibTransId="{DF3F1FD8-12EE-4CE0-908D-4CB7CE261021}"/>
    <dgm:cxn modelId="{6EEA43D2-AB00-45EA-B730-26190A3D5727}" type="presOf" srcId="{D746B739-D89B-46B7-A44D-D9BFAA5182EF}" destId="{6444035B-23F5-4F5D-820E-AFF562C15C00}" srcOrd="0" destOrd="0" presId="urn:microsoft.com/office/officeart/2005/8/layout/vList2"/>
    <dgm:cxn modelId="{EB8A1601-CF94-413D-A3B0-134A42064040}" type="presOf" srcId="{DAD9E99F-60C0-4963-AF48-74215A2322F1}" destId="{995F1F29-E90E-438C-B065-8F7B4758A705}" srcOrd="0" destOrd="0" presId="urn:microsoft.com/office/officeart/2005/8/layout/vList2"/>
    <dgm:cxn modelId="{AD6FD802-2E83-4445-8935-26596CECCC20}" srcId="{301660AF-0431-4695-9B28-935939ACCD61}" destId="{DAD9E99F-60C0-4963-AF48-74215A2322F1}" srcOrd="0" destOrd="0" parTransId="{FD8CF851-2264-4457-9756-CAA59FF9EA52}" sibTransId="{52A94826-27A5-4FD4-A425-E7023C97E9E0}"/>
    <dgm:cxn modelId="{0CD8BFE0-B2EB-4641-84C3-C4F07124E4B1}" type="presOf" srcId="{38DD8734-15B9-4244-B430-F84E298A87F1}" destId="{A59986C5-6334-4328-90F9-98BDDEC8613F}" srcOrd="0" destOrd="2" presId="urn:microsoft.com/office/officeart/2005/8/layout/vList2"/>
    <dgm:cxn modelId="{9A2974EA-462E-4648-B640-747A39AA2BDB}" srcId="{DAD9E99F-60C0-4963-AF48-74215A2322F1}" destId="{38DD8734-15B9-4244-B430-F84E298A87F1}" srcOrd="2" destOrd="0" parTransId="{081FCA28-8F41-4D25-9089-E84E5991C522}" sibTransId="{61F3D714-930F-45C1-BC76-F32D4821A432}"/>
    <dgm:cxn modelId="{FFD6E512-1B53-4FEF-916E-2A2479B612BF}" type="presOf" srcId="{301660AF-0431-4695-9B28-935939ACCD61}" destId="{19BFAA9A-F15C-458F-9519-CA438C484FCA}" srcOrd="0" destOrd="0" presId="urn:microsoft.com/office/officeart/2005/8/layout/vList2"/>
    <dgm:cxn modelId="{A840E30D-0009-4816-A754-AF90F02C1448}" type="presOf" srcId="{BE457C22-94EB-443F-AA64-88350F2FE6CE}" destId="{A59986C5-6334-4328-90F9-98BDDEC8613F}" srcOrd="0" destOrd="1" presId="urn:microsoft.com/office/officeart/2005/8/layout/vList2"/>
    <dgm:cxn modelId="{2196F3D8-7381-478A-A87B-CBFCE08DC096}" type="presOf" srcId="{88CD4120-79E5-41E8-8C6D-856E864068E0}" destId="{A59986C5-6334-4328-90F9-98BDDEC8613F}" srcOrd="0" destOrd="0" presId="urn:microsoft.com/office/officeart/2005/8/layout/vList2"/>
    <dgm:cxn modelId="{3E44DD2E-C521-4FEC-965E-8D409EB7B9C7}" srcId="{301660AF-0431-4695-9B28-935939ACCD61}" destId="{D746B739-D89B-46B7-A44D-D9BFAA5182EF}" srcOrd="3" destOrd="0" parTransId="{E14EA30A-8ACC-44B9-B60D-4F921DCB60FF}" sibTransId="{6A522717-A7F4-4F83-A4D7-F846ECE35A90}"/>
    <dgm:cxn modelId="{8EAE154E-9CD7-42BC-861E-B8C39270905B}" type="presOf" srcId="{98BE1EFD-EBB6-4474-B1B5-4CC0DF17EBDE}" destId="{3B6345D2-2187-406D-9FF8-C9A845D752E6}" srcOrd="0" destOrd="0" presId="urn:microsoft.com/office/officeart/2005/8/layout/vList2"/>
    <dgm:cxn modelId="{2B583A8D-B26F-4C02-B169-91F4572537B5}" srcId="{DAD9E99F-60C0-4963-AF48-74215A2322F1}" destId="{BE457C22-94EB-443F-AA64-88350F2FE6CE}" srcOrd="1" destOrd="0" parTransId="{29D00854-D832-4489-A867-B382F83047FF}" sibTransId="{4BDC9872-9A0C-4067-AEDD-15A2E5AB0C3A}"/>
    <dgm:cxn modelId="{71F5FDA3-04EC-4E01-A523-069877AAC418}" type="presOf" srcId="{3137CE88-39D9-4BA9-8826-0EB6A7085C9E}" destId="{87F1BE67-8D4D-42E2-B366-076D930D3FF6}" srcOrd="0" destOrd="0" presId="urn:microsoft.com/office/officeart/2005/8/layout/vList2"/>
    <dgm:cxn modelId="{A8408E1F-774B-41DA-A181-990A93C9C820}" srcId="{301660AF-0431-4695-9B28-935939ACCD61}" destId="{98BE1EFD-EBB6-4474-B1B5-4CC0DF17EBDE}" srcOrd="2" destOrd="0" parTransId="{3665CFF3-26E3-40D5-8650-40F117CC13C0}" sibTransId="{1CD8B3BB-1986-4A07-8255-80E3409EE01C}"/>
    <dgm:cxn modelId="{2F93EDD9-3A93-4021-92BF-A0DD4B1A8523}" srcId="{301660AF-0431-4695-9B28-935939ACCD61}" destId="{3137CE88-39D9-4BA9-8826-0EB6A7085C9E}" srcOrd="1" destOrd="0" parTransId="{6C05DE7C-1D01-424A-85BB-D54322AC092D}" sibTransId="{42FB26AF-35A5-4B03-BF87-2D72B3D23A22}"/>
    <dgm:cxn modelId="{4AFD8C6A-6115-4367-9348-55D1E1637D76}" type="presParOf" srcId="{19BFAA9A-F15C-458F-9519-CA438C484FCA}" destId="{995F1F29-E90E-438C-B065-8F7B4758A705}" srcOrd="0" destOrd="0" presId="urn:microsoft.com/office/officeart/2005/8/layout/vList2"/>
    <dgm:cxn modelId="{85BCE489-895A-40F4-A016-D68BCB0565CB}" type="presParOf" srcId="{19BFAA9A-F15C-458F-9519-CA438C484FCA}" destId="{A59986C5-6334-4328-90F9-98BDDEC8613F}" srcOrd="1" destOrd="0" presId="urn:microsoft.com/office/officeart/2005/8/layout/vList2"/>
    <dgm:cxn modelId="{2E15C07D-0228-4747-AF0A-5CD45E28A534}" type="presParOf" srcId="{19BFAA9A-F15C-458F-9519-CA438C484FCA}" destId="{87F1BE67-8D4D-42E2-B366-076D930D3FF6}" srcOrd="2" destOrd="0" presId="urn:microsoft.com/office/officeart/2005/8/layout/vList2"/>
    <dgm:cxn modelId="{B9A319DC-FD74-49C0-AA6B-5F65D9A7D06C}" type="presParOf" srcId="{19BFAA9A-F15C-458F-9519-CA438C484FCA}" destId="{56D0D38A-D4C3-4A40-B00B-E6DC31E19095}" srcOrd="3" destOrd="0" presId="urn:microsoft.com/office/officeart/2005/8/layout/vList2"/>
    <dgm:cxn modelId="{1FBEB73E-1FD5-47E7-A2EF-1F514CCAA93C}" type="presParOf" srcId="{19BFAA9A-F15C-458F-9519-CA438C484FCA}" destId="{3B6345D2-2187-406D-9FF8-C9A845D752E6}" srcOrd="4" destOrd="0" presId="urn:microsoft.com/office/officeart/2005/8/layout/vList2"/>
    <dgm:cxn modelId="{0AAF3D91-510E-4023-84C9-CEDC1B00FBFE}" type="presParOf" srcId="{19BFAA9A-F15C-458F-9519-CA438C484FCA}" destId="{8689E530-1818-43B8-9CEE-744B01A60B81}" srcOrd="5" destOrd="0" presId="urn:microsoft.com/office/officeart/2005/8/layout/vList2"/>
    <dgm:cxn modelId="{CDB63934-BA60-4A11-84D8-FAF612ED40B4}" type="presParOf" srcId="{19BFAA9A-F15C-458F-9519-CA438C484FCA}" destId="{6444035B-23F5-4F5D-820E-AFF562C15C00}" srcOrd="6"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387135-D900-4564-B38F-F21C5B0FC804}">
      <dsp:nvSpPr>
        <dsp:cNvPr id="0" name=""/>
        <dsp:cNvSpPr/>
      </dsp:nvSpPr>
      <dsp:spPr>
        <a:xfrm>
          <a:off x="0" y="313246"/>
          <a:ext cx="11160125" cy="4770783"/>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6150" tIns="416560" rIns="866150" bIns="142240" numCol="1" spcCol="1270" anchor="t" anchorCtr="0">
          <a:noAutofit/>
        </a:bodyPr>
        <a:lstStyle/>
        <a:p>
          <a:pPr marL="228600" lvl="1" indent="-228600" algn="l" defTabSz="889000">
            <a:lnSpc>
              <a:spcPct val="100000"/>
            </a:lnSpc>
            <a:spcBef>
              <a:spcPct val="0"/>
            </a:spcBef>
            <a:spcAft>
              <a:spcPts val="1200"/>
            </a:spcAft>
            <a:buChar char="••"/>
          </a:pPr>
          <a:r>
            <a:rPr lang="en-US" sz="2000" kern="1200" dirty="0">
              <a:solidFill>
                <a:schemeClr val="accent1"/>
              </a:solidFill>
            </a:rPr>
            <a:t>Define and provide examples of soft skills</a:t>
          </a:r>
        </a:p>
        <a:p>
          <a:pPr marL="228600" lvl="1" indent="-228600" algn="l" defTabSz="889000">
            <a:lnSpc>
              <a:spcPct val="100000"/>
            </a:lnSpc>
            <a:spcBef>
              <a:spcPct val="0"/>
            </a:spcBef>
            <a:spcAft>
              <a:spcPts val="1200"/>
            </a:spcAft>
            <a:buChar char="••"/>
          </a:pPr>
          <a:r>
            <a:rPr lang="en-US" sz="2000" kern="1200" dirty="0">
              <a:solidFill>
                <a:schemeClr val="accent1"/>
              </a:solidFill>
            </a:rPr>
            <a:t>Describe the physician selection and training processes and how they have evolved in recent years</a:t>
          </a:r>
        </a:p>
        <a:p>
          <a:pPr marL="228600" lvl="1" indent="-228600" algn="l" defTabSz="889000">
            <a:lnSpc>
              <a:spcPct val="100000"/>
            </a:lnSpc>
            <a:spcBef>
              <a:spcPct val="0"/>
            </a:spcBef>
            <a:spcAft>
              <a:spcPts val="1200"/>
            </a:spcAft>
            <a:buChar char="••"/>
          </a:pPr>
          <a:r>
            <a:rPr lang="en-US" sz="2000" kern="1200" dirty="0">
              <a:solidFill>
                <a:schemeClr val="accent1"/>
              </a:solidFill>
            </a:rPr>
            <a:t>Understand the role of communication as a contributing factor in medical malpractice cases</a:t>
          </a:r>
        </a:p>
        <a:p>
          <a:pPr marL="228600" lvl="1" indent="-228600" algn="l" defTabSz="889000">
            <a:lnSpc>
              <a:spcPct val="100000"/>
            </a:lnSpc>
            <a:spcBef>
              <a:spcPct val="0"/>
            </a:spcBef>
            <a:spcAft>
              <a:spcPts val="1200"/>
            </a:spcAft>
            <a:buChar char="••"/>
          </a:pPr>
          <a:r>
            <a:rPr lang="en-US" sz="2000" kern="1200" dirty="0">
              <a:solidFill>
                <a:schemeClr val="accent1"/>
              </a:solidFill>
            </a:rPr>
            <a:t>Discuss the impact of disruptive behavior on workplace culture and </a:t>
          </a:r>
          <a:br>
            <a:rPr lang="en-US" sz="2000" kern="1200" dirty="0">
              <a:solidFill>
                <a:schemeClr val="accent1"/>
              </a:solidFill>
            </a:rPr>
          </a:br>
          <a:r>
            <a:rPr lang="en-US" sz="2000" kern="1200" dirty="0">
              <a:solidFill>
                <a:schemeClr val="accent1"/>
              </a:solidFill>
            </a:rPr>
            <a:t>quality of care</a:t>
          </a:r>
        </a:p>
        <a:p>
          <a:pPr marL="228600" lvl="1" indent="-228600" algn="l" defTabSz="889000">
            <a:lnSpc>
              <a:spcPct val="100000"/>
            </a:lnSpc>
            <a:spcBef>
              <a:spcPct val="0"/>
            </a:spcBef>
            <a:spcAft>
              <a:spcPts val="1200"/>
            </a:spcAft>
            <a:buChar char="••"/>
          </a:pPr>
          <a:r>
            <a:rPr lang="en-US" sz="2000" kern="1200" dirty="0">
              <a:solidFill>
                <a:schemeClr val="accent1"/>
              </a:solidFill>
            </a:rPr>
            <a:t>Explain the effects of burnout and empathy on staff retention and </a:t>
          </a:r>
          <a:br>
            <a:rPr lang="en-US" sz="2000" kern="1200" dirty="0">
              <a:solidFill>
                <a:schemeClr val="accent1"/>
              </a:solidFill>
            </a:rPr>
          </a:br>
          <a:r>
            <a:rPr lang="en-US" sz="2000" kern="1200" dirty="0">
              <a:solidFill>
                <a:schemeClr val="accent1"/>
              </a:solidFill>
            </a:rPr>
            <a:t>culture of safety</a:t>
          </a:r>
        </a:p>
        <a:p>
          <a:pPr marL="228600" lvl="1" indent="-228600" algn="l" defTabSz="889000">
            <a:lnSpc>
              <a:spcPct val="100000"/>
            </a:lnSpc>
            <a:spcBef>
              <a:spcPct val="0"/>
            </a:spcBef>
            <a:spcAft>
              <a:spcPts val="1200"/>
            </a:spcAft>
            <a:buChar char="••"/>
          </a:pPr>
          <a:r>
            <a:rPr lang="en-US" sz="2000" kern="1200" dirty="0">
              <a:solidFill>
                <a:schemeClr val="accent1"/>
              </a:solidFill>
            </a:rPr>
            <a:t>Identify strategies for improving communication, teamwork, and </a:t>
          </a:r>
          <a:br>
            <a:rPr lang="en-US" sz="2000" kern="1200" dirty="0">
              <a:solidFill>
                <a:schemeClr val="accent1"/>
              </a:solidFill>
            </a:rPr>
          </a:br>
          <a:r>
            <a:rPr lang="en-US" sz="2000" kern="1200" dirty="0">
              <a:solidFill>
                <a:schemeClr val="accent1"/>
              </a:solidFill>
            </a:rPr>
            <a:t>behavior</a:t>
          </a:r>
        </a:p>
      </dsp:txBody>
      <dsp:txXfrm>
        <a:off x="0" y="313246"/>
        <a:ext cx="11160125" cy="4770783"/>
      </dsp:txXfrm>
    </dsp:sp>
    <dsp:sp modelId="{820BBBFD-402E-47AA-ABA1-51CE08A73B04}">
      <dsp:nvSpPr>
        <dsp:cNvPr id="0" name=""/>
        <dsp:cNvSpPr/>
      </dsp:nvSpPr>
      <dsp:spPr>
        <a:xfrm>
          <a:off x="558006" y="18046"/>
          <a:ext cx="8046684" cy="59039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5278" tIns="0" rIns="295278" bIns="0" numCol="1" spcCol="1270" anchor="ctr" anchorCtr="0">
          <a:noAutofit/>
        </a:bodyPr>
        <a:lstStyle/>
        <a:p>
          <a:pPr lvl="0" algn="l" defTabSz="889000">
            <a:lnSpc>
              <a:spcPct val="90000"/>
            </a:lnSpc>
            <a:spcBef>
              <a:spcPct val="0"/>
            </a:spcBef>
            <a:spcAft>
              <a:spcPct val="35000"/>
            </a:spcAft>
          </a:pPr>
          <a:r>
            <a:rPr lang="en-US" sz="2000" kern="1200" dirty="0"/>
            <a:t>At the conclusion of this program, participants should be able to:</a:t>
          </a:r>
        </a:p>
      </dsp:txBody>
      <dsp:txXfrm>
        <a:off x="586827" y="46867"/>
        <a:ext cx="7989042" cy="53275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0DC18F-9870-4C06-9E41-98819C70BAD3}">
      <dsp:nvSpPr>
        <dsp:cNvPr id="0" name=""/>
        <dsp:cNvSpPr/>
      </dsp:nvSpPr>
      <dsp:spPr>
        <a:xfrm>
          <a:off x="929402" y="0"/>
          <a:ext cx="2709042" cy="162542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latin typeface="+mn-lt"/>
            </a:rPr>
            <a:t>Frequent job changes</a:t>
          </a:r>
        </a:p>
      </dsp:txBody>
      <dsp:txXfrm>
        <a:off x="929402" y="0"/>
        <a:ext cx="2709042" cy="1625425"/>
      </dsp:txXfrm>
    </dsp:sp>
    <dsp:sp modelId="{87207981-B8B6-49FA-9B0F-6C06FB392465}">
      <dsp:nvSpPr>
        <dsp:cNvPr id="0" name=""/>
        <dsp:cNvSpPr/>
      </dsp:nvSpPr>
      <dsp:spPr>
        <a:xfrm>
          <a:off x="3909349" y="290"/>
          <a:ext cx="2709042" cy="1625425"/>
        </a:xfrm>
        <a:prstGeom prst="rect">
          <a:avLst/>
        </a:prstGeom>
        <a:solidFill>
          <a:schemeClr val="accent2">
            <a:hueOff val="7060"/>
            <a:satOff val="9023"/>
            <a:lumOff val="10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a:latin typeface="+mn-lt"/>
            </a:rPr>
            <a:t>Employed in jobs inappropriate for their qualifications</a:t>
          </a:r>
          <a:endParaRPr lang="en-US" sz="2000" kern="1200" dirty="0">
            <a:latin typeface="+mn-lt"/>
          </a:endParaRPr>
        </a:p>
      </dsp:txBody>
      <dsp:txXfrm>
        <a:off x="3909349" y="290"/>
        <a:ext cx="2709042" cy="1625425"/>
      </dsp:txXfrm>
    </dsp:sp>
    <dsp:sp modelId="{84DFA13B-E41E-4299-B1D5-BD0FAEECD4FF}">
      <dsp:nvSpPr>
        <dsp:cNvPr id="0" name=""/>
        <dsp:cNvSpPr/>
      </dsp:nvSpPr>
      <dsp:spPr>
        <a:xfrm>
          <a:off x="6889296" y="290"/>
          <a:ext cx="2709042" cy="1625425"/>
        </a:xfrm>
        <a:prstGeom prst="rect">
          <a:avLst/>
        </a:prstGeom>
        <a:solidFill>
          <a:schemeClr val="accent2">
            <a:hueOff val="14120"/>
            <a:satOff val="18045"/>
            <a:lumOff val="20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a:latin typeface="+mn-lt"/>
            </a:rPr>
            <a:t>Reluctant to provide references or permission to contact</a:t>
          </a:r>
          <a:endParaRPr lang="en-US" sz="2000" kern="1200" dirty="0">
            <a:latin typeface="+mn-lt"/>
          </a:endParaRPr>
        </a:p>
      </dsp:txBody>
      <dsp:txXfrm>
        <a:off x="6889296" y="290"/>
        <a:ext cx="2709042" cy="1625425"/>
      </dsp:txXfrm>
    </dsp:sp>
    <dsp:sp modelId="{B17CD757-193D-48A2-9203-3E74B41E79FD}">
      <dsp:nvSpPr>
        <dsp:cNvPr id="0" name=""/>
        <dsp:cNvSpPr/>
      </dsp:nvSpPr>
      <dsp:spPr>
        <a:xfrm>
          <a:off x="929402" y="1896620"/>
          <a:ext cx="2709042" cy="1625425"/>
        </a:xfrm>
        <a:prstGeom prst="rect">
          <a:avLst/>
        </a:prstGeom>
        <a:solidFill>
          <a:schemeClr val="accent2">
            <a:hueOff val="21179"/>
            <a:satOff val="27068"/>
            <a:lumOff val="30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latin typeface="+mn-lt"/>
            </a:rPr>
            <a:t>History of voluntary or involuntary relinquishment of licensure or medical staff membership</a:t>
          </a:r>
        </a:p>
      </dsp:txBody>
      <dsp:txXfrm>
        <a:off x="929402" y="1896620"/>
        <a:ext cx="2709042" cy="1625425"/>
      </dsp:txXfrm>
    </dsp:sp>
    <dsp:sp modelId="{24D5877E-4356-4CFA-BC65-783C6C83C63E}">
      <dsp:nvSpPr>
        <dsp:cNvPr id="0" name=""/>
        <dsp:cNvSpPr/>
      </dsp:nvSpPr>
      <dsp:spPr>
        <a:xfrm>
          <a:off x="3909349" y="1896620"/>
          <a:ext cx="2709042" cy="1625425"/>
        </a:xfrm>
        <a:prstGeom prst="rect">
          <a:avLst/>
        </a:prstGeom>
        <a:solidFill>
          <a:schemeClr val="accent2">
            <a:hueOff val="28239"/>
            <a:satOff val="36090"/>
            <a:lumOff val="403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a:latin typeface="+mn-lt"/>
            </a:rPr>
            <a:t>History of limitation, reduction, or loss of clinical privileges</a:t>
          </a:r>
          <a:endParaRPr lang="en-US" sz="2000" kern="1200" dirty="0">
            <a:latin typeface="+mn-lt"/>
          </a:endParaRPr>
        </a:p>
      </dsp:txBody>
      <dsp:txXfrm>
        <a:off x="3909349" y="1896620"/>
        <a:ext cx="2709042" cy="1625425"/>
      </dsp:txXfrm>
    </dsp:sp>
    <dsp:sp modelId="{1357E0F1-973A-4F61-9B5D-A87469EF5856}">
      <dsp:nvSpPr>
        <dsp:cNvPr id="0" name=""/>
        <dsp:cNvSpPr/>
      </dsp:nvSpPr>
      <dsp:spPr>
        <a:xfrm>
          <a:off x="6889296" y="1896620"/>
          <a:ext cx="2709042" cy="1625425"/>
        </a:xfrm>
        <a:prstGeom prst="rect">
          <a:avLst/>
        </a:prstGeom>
        <a:solidFill>
          <a:schemeClr val="accent2">
            <a:hueOff val="35299"/>
            <a:satOff val="45113"/>
            <a:lumOff val="50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a:latin typeface="+mn-lt"/>
            </a:rPr>
            <a:t>Excessive claims resulting in final judgments against them</a:t>
          </a:r>
          <a:endParaRPr lang="en-US" sz="2000" kern="1200" dirty="0">
            <a:latin typeface="+mn-lt"/>
          </a:endParaRPr>
        </a:p>
      </dsp:txBody>
      <dsp:txXfrm>
        <a:off x="6889296" y="1896620"/>
        <a:ext cx="2709042" cy="1625425"/>
      </dsp:txXfrm>
    </dsp:sp>
    <dsp:sp modelId="{0ADA2ACF-41C5-40E0-BF28-65C6BD3447F6}">
      <dsp:nvSpPr>
        <dsp:cNvPr id="0" name=""/>
        <dsp:cNvSpPr/>
      </dsp:nvSpPr>
      <dsp:spPr>
        <a:xfrm>
          <a:off x="2419375" y="3792950"/>
          <a:ext cx="2709042" cy="1625425"/>
        </a:xfrm>
        <a:prstGeom prst="rect">
          <a:avLst/>
        </a:prstGeom>
        <a:solidFill>
          <a:schemeClr val="accent2">
            <a:hueOff val="42359"/>
            <a:satOff val="54135"/>
            <a:lumOff val="60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a:latin typeface="+mn-lt"/>
            </a:rPr>
            <a:t>History of investigations or disciplinary actions </a:t>
          </a:r>
          <a:endParaRPr lang="en-US" sz="2000" kern="1200" dirty="0">
            <a:latin typeface="+mn-lt"/>
          </a:endParaRPr>
        </a:p>
      </dsp:txBody>
      <dsp:txXfrm>
        <a:off x="2419375" y="3792950"/>
        <a:ext cx="2709042" cy="1625425"/>
      </dsp:txXfrm>
    </dsp:sp>
    <dsp:sp modelId="{F0EB8099-B4EC-4882-8964-C8CAC114956F}">
      <dsp:nvSpPr>
        <dsp:cNvPr id="0" name=""/>
        <dsp:cNvSpPr/>
      </dsp:nvSpPr>
      <dsp:spPr>
        <a:xfrm>
          <a:off x="5399322" y="3792950"/>
          <a:ext cx="2709042" cy="1625425"/>
        </a:xfrm>
        <a:prstGeom prst="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a:latin typeface="+mn-lt"/>
            </a:rPr>
            <a:t>Poor performance evaluations</a:t>
          </a:r>
          <a:endParaRPr lang="en-US" sz="2000" kern="1200" dirty="0">
            <a:latin typeface="+mn-lt"/>
          </a:endParaRPr>
        </a:p>
      </dsp:txBody>
      <dsp:txXfrm>
        <a:off x="5399322" y="3792950"/>
        <a:ext cx="2709042" cy="162542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FB8F85-01F6-45F7-A194-0594BC6E178A}">
      <dsp:nvSpPr>
        <dsp:cNvPr id="0" name=""/>
        <dsp:cNvSpPr/>
      </dsp:nvSpPr>
      <dsp:spPr>
        <a:xfrm rot="5400000">
          <a:off x="-289435" y="295165"/>
          <a:ext cx="1929572" cy="1350700"/>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a:t>Psychiatric conditions</a:t>
          </a:r>
        </a:p>
      </dsp:txBody>
      <dsp:txXfrm rot="-5400000">
        <a:off x="1" y="681079"/>
        <a:ext cx="1350700" cy="578872"/>
      </dsp:txXfrm>
    </dsp:sp>
    <dsp:sp modelId="{6EE1CFD2-9F6A-4E5B-A214-6220A305C8B1}">
      <dsp:nvSpPr>
        <dsp:cNvPr id="0" name=""/>
        <dsp:cNvSpPr/>
      </dsp:nvSpPr>
      <dsp:spPr>
        <a:xfrm rot="5400000">
          <a:off x="3471372" y="-2114942"/>
          <a:ext cx="1254221" cy="5495565"/>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tx2"/>
              </a:solidFill>
            </a:rPr>
            <a:t>Depression</a:t>
          </a:r>
        </a:p>
        <a:p>
          <a:pPr marL="228600" lvl="1" indent="-228600" algn="l" defTabSz="889000">
            <a:lnSpc>
              <a:spcPct val="90000"/>
            </a:lnSpc>
            <a:spcBef>
              <a:spcPct val="0"/>
            </a:spcBef>
            <a:spcAft>
              <a:spcPct val="15000"/>
            </a:spcAft>
            <a:buChar char="••"/>
          </a:pPr>
          <a:r>
            <a:rPr lang="en-US" sz="2000" kern="1200" dirty="0">
              <a:solidFill>
                <a:schemeClr val="tx2"/>
              </a:solidFill>
            </a:rPr>
            <a:t>Bipolar disorders</a:t>
          </a:r>
        </a:p>
      </dsp:txBody>
      <dsp:txXfrm rot="-5400000">
        <a:off x="1350700" y="66956"/>
        <a:ext cx="5434339" cy="1131769"/>
      </dsp:txXfrm>
    </dsp:sp>
    <dsp:sp modelId="{46789A42-0A7E-48C4-AE3A-54AF3059A87E}">
      <dsp:nvSpPr>
        <dsp:cNvPr id="0" name=""/>
        <dsp:cNvSpPr/>
      </dsp:nvSpPr>
      <dsp:spPr>
        <a:xfrm rot="5400000">
          <a:off x="-289435" y="2033983"/>
          <a:ext cx="1929572" cy="1350700"/>
        </a:xfrm>
        <a:prstGeom prst="chevron">
          <a:avLst/>
        </a:prstGeom>
        <a:solidFill>
          <a:schemeClr val="accent2">
            <a:hueOff val="24709"/>
            <a:satOff val="31579"/>
            <a:lumOff val="3530"/>
            <a:alphaOff val="0"/>
          </a:schemeClr>
        </a:solidFill>
        <a:ln w="12700" cap="flat" cmpd="sng" algn="ctr">
          <a:solidFill>
            <a:schemeClr val="accent2">
              <a:hueOff val="24709"/>
              <a:satOff val="31579"/>
              <a:lumOff val="353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a:t>Personality disorders</a:t>
          </a:r>
        </a:p>
      </dsp:txBody>
      <dsp:txXfrm rot="-5400000">
        <a:off x="1" y="2419897"/>
        <a:ext cx="1350700" cy="578872"/>
      </dsp:txXfrm>
    </dsp:sp>
    <dsp:sp modelId="{C15FB6E3-0293-4B0B-AF26-B73F2CA097CC}">
      <dsp:nvSpPr>
        <dsp:cNvPr id="0" name=""/>
        <dsp:cNvSpPr/>
      </dsp:nvSpPr>
      <dsp:spPr>
        <a:xfrm rot="5400000">
          <a:off x="3471372" y="-376124"/>
          <a:ext cx="1254221" cy="5495565"/>
        </a:xfrm>
        <a:prstGeom prst="round2SameRect">
          <a:avLst/>
        </a:prstGeom>
        <a:solidFill>
          <a:schemeClr val="lt1">
            <a:alpha val="90000"/>
            <a:hueOff val="0"/>
            <a:satOff val="0"/>
            <a:lumOff val="0"/>
            <a:alphaOff val="0"/>
          </a:schemeClr>
        </a:solidFill>
        <a:ln w="12700" cap="flat" cmpd="sng" algn="ctr">
          <a:solidFill>
            <a:schemeClr val="accent2">
              <a:hueOff val="24709"/>
              <a:satOff val="31579"/>
              <a:lumOff val="353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tx2"/>
              </a:solidFill>
            </a:rPr>
            <a:t>Narcissism</a:t>
          </a:r>
        </a:p>
        <a:p>
          <a:pPr marL="228600" lvl="1" indent="-228600" algn="l" defTabSz="889000">
            <a:lnSpc>
              <a:spcPct val="90000"/>
            </a:lnSpc>
            <a:spcBef>
              <a:spcPct val="0"/>
            </a:spcBef>
            <a:spcAft>
              <a:spcPct val="15000"/>
            </a:spcAft>
            <a:buChar char="••"/>
          </a:pPr>
          <a:r>
            <a:rPr lang="en-US" sz="2000" kern="1200">
              <a:solidFill>
                <a:schemeClr val="tx2"/>
              </a:solidFill>
            </a:rPr>
            <a:t>Paranoia</a:t>
          </a:r>
          <a:endParaRPr lang="en-US" sz="2000" kern="1200" dirty="0">
            <a:solidFill>
              <a:schemeClr val="tx2"/>
            </a:solidFill>
          </a:endParaRPr>
        </a:p>
        <a:p>
          <a:pPr marL="228600" lvl="1" indent="-228600" algn="l" defTabSz="889000">
            <a:lnSpc>
              <a:spcPct val="90000"/>
            </a:lnSpc>
            <a:spcBef>
              <a:spcPct val="0"/>
            </a:spcBef>
            <a:spcAft>
              <a:spcPct val="15000"/>
            </a:spcAft>
            <a:buChar char="••"/>
          </a:pPr>
          <a:r>
            <a:rPr lang="en-US" sz="2000" kern="1200" dirty="0">
              <a:solidFill>
                <a:schemeClr val="tx2"/>
              </a:solidFill>
            </a:rPr>
            <a:t>Passive-aggressive personality disorder</a:t>
          </a:r>
        </a:p>
        <a:p>
          <a:pPr marL="228600" lvl="1" indent="-228600" algn="l" defTabSz="889000">
            <a:lnSpc>
              <a:spcPct val="90000"/>
            </a:lnSpc>
            <a:spcBef>
              <a:spcPct val="0"/>
            </a:spcBef>
            <a:spcAft>
              <a:spcPct val="15000"/>
            </a:spcAft>
            <a:buChar char="••"/>
          </a:pPr>
          <a:r>
            <a:rPr lang="en-US" sz="2000" kern="1200" dirty="0">
              <a:solidFill>
                <a:schemeClr val="tx2"/>
              </a:solidFill>
            </a:rPr>
            <a:t>Borderline/mixed personality disorder</a:t>
          </a:r>
        </a:p>
      </dsp:txBody>
      <dsp:txXfrm rot="-5400000">
        <a:off x="1350700" y="1805774"/>
        <a:ext cx="5434339" cy="1131769"/>
      </dsp:txXfrm>
    </dsp:sp>
    <dsp:sp modelId="{7B78C538-E12B-41C7-9C79-AB1EEB7173C4}">
      <dsp:nvSpPr>
        <dsp:cNvPr id="0" name=""/>
        <dsp:cNvSpPr/>
      </dsp:nvSpPr>
      <dsp:spPr>
        <a:xfrm rot="5400000">
          <a:off x="-289435" y="3772801"/>
          <a:ext cx="1929572" cy="1350700"/>
        </a:xfrm>
        <a:prstGeom prst="chevron">
          <a:avLst/>
        </a:prstGeom>
        <a:solidFill>
          <a:schemeClr val="accent2">
            <a:hueOff val="49418"/>
            <a:satOff val="63158"/>
            <a:lumOff val="7059"/>
            <a:alphaOff val="0"/>
          </a:schemeClr>
        </a:solidFill>
        <a:ln w="12700" cap="flat" cmpd="sng" algn="ctr">
          <a:solidFill>
            <a:schemeClr val="accent2">
              <a:hueOff val="49418"/>
              <a:satOff val="63158"/>
              <a:lumOff val="70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sz="2000" kern="1200" dirty="0"/>
            <a:t>Occasional incident</a:t>
          </a:r>
        </a:p>
      </dsp:txBody>
      <dsp:txXfrm rot="-5400000">
        <a:off x="1" y="4158715"/>
        <a:ext cx="1350700" cy="578872"/>
      </dsp:txXfrm>
    </dsp:sp>
    <dsp:sp modelId="{EAFE2151-9D5E-482B-BEC4-858B926E2D94}">
      <dsp:nvSpPr>
        <dsp:cNvPr id="0" name=""/>
        <dsp:cNvSpPr/>
      </dsp:nvSpPr>
      <dsp:spPr>
        <a:xfrm rot="5400000">
          <a:off x="3471372" y="1362693"/>
          <a:ext cx="1254221" cy="5495565"/>
        </a:xfrm>
        <a:prstGeom prst="round2SameRect">
          <a:avLst/>
        </a:prstGeom>
        <a:solidFill>
          <a:schemeClr val="lt1">
            <a:alpha val="90000"/>
            <a:hueOff val="0"/>
            <a:satOff val="0"/>
            <a:lumOff val="0"/>
            <a:alphaOff val="0"/>
          </a:schemeClr>
        </a:solidFill>
        <a:ln w="12700" cap="flat" cmpd="sng" algn="ctr">
          <a:solidFill>
            <a:schemeClr val="accent2">
              <a:hueOff val="49418"/>
              <a:satOff val="63158"/>
              <a:lumOff val="705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chemeClr val="tx2"/>
              </a:solidFill>
            </a:rPr>
            <a:t>Substance abuse</a:t>
          </a:r>
        </a:p>
      </dsp:txBody>
      <dsp:txXfrm rot="-5400000">
        <a:off x="1350700" y="3544591"/>
        <a:ext cx="5434339" cy="113176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EBF0B-D9B8-4324-A04D-DCE0D5789810}">
      <dsp:nvSpPr>
        <dsp:cNvPr id="0" name=""/>
        <dsp:cNvSpPr/>
      </dsp:nvSpPr>
      <dsp:spPr>
        <a:xfrm>
          <a:off x="0" y="684319"/>
          <a:ext cx="11178169" cy="4346999"/>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67550" tIns="958088" rIns="867550" bIns="184912" numCol="1" spcCol="1270" anchor="t" anchorCtr="0">
          <a:noAutofit/>
        </a:bodyPr>
        <a:lstStyle/>
        <a:p>
          <a:pPr marL="228600" lvl="1" indent="-228600" algn="l" defTabSz="1155700">
            <a:lnSpc>
              <a:spcPct val="100000"/>
            </a:lnSpc>
            <a:spcBef>
              <a:spcPct val="0"/>
            </a:spcBef>
            <a:spcAft>
              <a:spcPts val="1800"/>
            </a:spcAft>
            <a:buChar char="••"/>
          </a:pPr>
          <a:r>
            <a:rPr lang="en-US" sz="2600" kern="1200" baseline="0" dirty="0">
              <a:solidFill>
                <a:schemeClr val="tx2"/>
              </a:solidFill>
            </a:rPr>
            <a:t>Fosters medical errors</a:t>
          </a:r>
        </a:p>
        <a:p>
          <a:pPr marL="228600" lvl="1" indent="-228600" algn="l" defTabSz="1155700">
            <a:lnSpc>
              <a:spcPct val="100000"/>
            </a:lnSpc>
            <a:spcBef>
              <a:spcPct val="0"/>
            </a:spcBef>
            <a:spcAft>
              <a:spcPts val="1800"/>
            </a:spcAft>
            <a:buChar char="••"/>
          </a:pPr>
          <a:r>
            <a:rPr lang="en-US" sz="2600" kern="1200" baseline="0" dirty="0">
              <a:solidFill>
                <a:schemeClr val="tx2"/>
              </a:solidFill>
            </a:rPr>
            <a:t>Decreases patient satisfaction</a:t>
          </a:r>
        </a:p>
        <a:p>
          <a:pPr marL="228600" lvl="1" indent="-228600" algn="l" defTabSz="1155700">
            <a:lnSpc>
              <a:spcPct val="100000"/>
            </a:lnSpc>
            <a:spcBef>
              <a:spcPct val="0"/>
            </a:spcBef>
            <a:spcAft>
              <a:spcPts val="1800"/>
            </a:spcAft>
            <a:buChar char="••"/>
          </a:pPr>
          <a:r>
            <a:rPr lang="en-US" sz="2600" kern="1200" baseline="0" dirty="0">
              <a:solidFill>
                <a:schemeClr val="tx2"/>
              </a:solidFill>
            </a:rPr>
            <a:t>Increases preventable adverse events</a:t>
          </a:r>
        </a:p>
        <a:p>
          <a:pPr marL="228600" lvl="1" indent="-228600" algn="l" defTabSz="1155700">
            <a:lnSpc>
              <a:spcPct val="100000"/>
            </a:lnSpc>
            <a:spcBef>
              <a:spcPct val="0"/>
            </a:spcBef>
            <a:spcAft>
              <a:spcPts val="1800"/>
            </a:spcAft>
            <a:buChar char="••"/>
          </a:pPr>
          <a:r>
            <a:rPr lang="en-US" sz="2600" kern="1200" baseline="0" dirty="0">
              <a:solidFill>
                <a:schemeClr val="tx2"/>
              </a:solidFill>
            </a:rPr>
            <a:t>Increases the cost of care</a:t>
          </a:r>
        </a:p>
        <a:p>
          <a:pPr marL="228600" lvl="1" indent="-228600" algn="l" defTabSz="1155700">
            <a:lnSpc>
              <a:spcPct val="100000"/>
            </a:lnSpc>
            <a:spcBef>
              <a:spcPct val="0"/>
            </a:spcBef>
            <a:spcAft>
              <a:spcPts val="1200"/>
            </a:spcAft>
            <a:buChar char="••"/>
          </a:pPr>
          <a:r>
            <a:rPr lang="en-US" sz="2600" kern="1200" baseline="0">
              <a:solidFill>
                <a:schemeClr val="tx2"/>
              </a:solidFill>
            </a:rPr>
            <a:t>Drives away clinicians and others on </a:t>
          </a:r>
          <a:br>
            <a:rPr lang="en-US" sz="2600" kern="1200" baseline="0">
              <a:solidFill>
                <a:schemeClr val="tx2"/>
              </a:solidFill>
            </a:rPr>
          </a:br>
          <a:r>
            <a:rPr lang="en-US" sz="2600" kern="1200" baseline="0">
              <a:solidFill>
                <a:schemeClr val="tx2"/>
              </a:solidFill>
            </a:rPr>
            <a:t>the healthcare team</a:t>
          </a:r>
          <a:endParaRPr lang="en-US" sz="2600" kern="1200" baseline="0" dirty="0">
            <a:solidFill>
              <a:schemeClr val="tx2"/>
            </a:solidFill>
          </a:endParaRPr>
        </a:p>
      </dsp:txBody>
      <dsp:txXfrm>
        <a:off x="0" y="684319"/>
        <a:ext cx="11178169" cy="4346999"/>
      </dsp:txXfrm>
    </dsp:sp>
    <dsp:sp modelId="{C481669E-5E9E-493D-B027-91D3CBBEB4BC}">
      <dsp:nvSpPr>
        <dsp:cNvPr id="0" name=""/>
        <dsp:cNvSpPr/>
      </dsp:nvSpPr>
      <dsp:spPr>
        <a:xfrm>
          <a:off x="558908" y="5359"/>
          <a:ext cx="7824718" cy="13579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5756" tIns="0" rIns="295756" bIns="0" numCol="1" spcCol="1270" anchor="ctr" anchorCtr="0">
          <a:noAutofit/>
        </a:bodyPr>
        <a:lstStyle/>
        <a:p>
          <a:pPr lvl="0" algn="l" defTabSz="1155700">
            <a:lnSpc>
              <a:spcPct val="100000"/>
            </a:lnSpc>
            <a:spcBef>
              <a:spcPct val="0"/>
            </a:spcBef>
            <a:spcAft>
              <a:spcPct val="35000"/>
            </a:spcAft>
          </a:pPr>
          <a:r>
            <a:rPr lang="en-US" sz="2600" kern="1200" baseline="0" dirty="0">
              <a:latin typeface="+mj-lt"/>
            </a:rPr>
            <a:t>According to The Joint Commission, disruptive behavior:</a:t>
          </a:r>
        </a:p>
      </dsp:txBody>
      <dsp:txXfrm>
        <a:off x="625196" y="71647"/>
        <a:ext cx="7692142" cy="122534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95B2D-082B-46A5-8D66-B0DB7402E6F4}">
      <dsp:nvSpPr>
        <dsp:cNvPr id="0" name=""/>
        <dsp:cNvSpPr/>
      </dsp:nvSpPr>
      <dsp:spPr>
        <a:xfrm>
          <a:off x="0" y="461052"/>
          <a:ext cx="10879433" cy="3613049"/>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44365" tIns="645668" rIns="844365" bIns="170688" numCol="1" spcCol="1270" anchor="t" anchorCtr="0">
          <a:noAutofit/>
        </a:bodyPr>
        <a:lstStyle/>
        <a:p>
          <a:pPr marL="228600" lvl="1" indent="-228600" algn="l" defTabSz="1066800">
            <a:lnSpc>
              <a:spcPct val="100000"/>
            </a:lnSpc>
            <a:spcBef>
              <a:spcPct val="0"/>
            </a:spcBef>
            <a:spcAft>
              <a:spcPts val="1200"/>
            </a:spcAft>
            <a:buChar char="••"/>
          </a:pPr>
          <a:r>
            <a:rPr lang="en-US" sz="2400" kern="1200" dirty="0">
              <a:solidFill>
                <a:schemeClr val="tx2"/>
              </a:solidFill>
            </a:rPr>
            <a:t>Vanderbilt: Coworker observation reporting system (CORS) to report unsafe conduct and behaviors known to undermine teams</a:t>
          </a:r>
        </a:p>
        <a:p>
          <a:pPr marL="228600" lvl="1" indent="-228600" algn="l" defTabSz="1066800">
            <a:lnSpc>
              <a:spcPct val="100000"/>
            </a:lnSpc>
            <a:spcBef>
              <a:spcPct val="0"/>
            </a:spcBef>
            <a:spcAft>
              <a:spcPts val="1200"/>
            </a:spcAft>
            <a:buChar char="••"/>
          </a:pPr>
          <a:r>
            <a:rPr lang="en-US" sz="2400" kern="1200" dirty="0">
              <a:solidFill>
                <a:schemeClr val="tx2"/>
              </a:solidFill>
            </a:rPr>
            <a:t>3% of medical staff (physicians and advanced practice professionals [APPs]) had pattern of CORS reports</a:t>
          </a:r>
        </a:p>
        <a:p>
          <a:pPr marL="228600" lvl="1" indent="-228600" algn="l" defTabSz="1066800">
            <a:lnSpc>
              <a:spcPct val="100000"/>
            </a:lnSpc>
            <a:spcBef>
              <a:spcPct val="0"/>
            </a:spcBef>
            <a:spcAft>
              <a:spcPts val="1200"/>
            </a:spcAft>
            <a:buChar char="••"/>
          </a:pPr>
          <a:r>
            <a:rPr lang="en-US" sz="2400" kern="1200" dirty="0">
              <a:solidFill>
                <a:schemeClr val="tx2"/>
              </a:solidFill>
            </a:rPr>
            <a:t>71% of recipients with CORS patterns following peer messenger feedback were not named in any subsequent CORS reports </a:t>
          </a:r>
          <a:br>
            <a:rPr lang="en-US" sz="2400" kern="1200" dirty="0">
              <a:solidFill>
                <a:schemeClr val="tx2"/>
              </a:solidFill>
            </a:rPr>
          </a:br>
          <a:r>
            <a:rPr lang="en-US" sz="2400" kern="1200" dirty="0">
              <a:solidFill>
                <a:schemeClr val="tx2"/>
              </a:solidFill>
            </a:rPr>
            <a:t>(1-year follow-up period)</a:t>
          </a:r>
        </a:p>
      </dsp:txBody>
      <dsp:txXfrm>
        <a:off x="0" y="461052"/>
        <a:ext cx="10879433" cy="3613049"/>
      </dsp:txXfrm>
    </dsp:sp>
    <dsp:sp modelId="{F313DEB3-AF09-4FD4-A59E-AC2A587AB7B2}">
      <dsp:nvSpPr>
        <dsp:cNvPr id="0" name=""/>
        <dsp:cNvSpPr/>
      </dsp:nvSpPr>
      <dsp:spPr>
        <a:xfrm>
          <a:off x="543971" y="3492"/>
          <a:ext cx="7615603" cy="915120"/>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7852" tIns="0" rIns="287852" bIns="0" numCol="1" spcCol="1270" anchor="ctr" anchorCtr="0">
          <a:noAutofit/>
        </a:bodyPr>
        <a:lstStyle/>
        <a:p>
          <a:pPr lvl="0" algn="l" defTabSz="1066800">
            <a:lnSpc>
              <a:spcPct val="90000"/>
            </a:lnSpc>
            <a:spcBef>
              <a:spcPct val="0"/>
            </a:spcBef>
            <a:spcAft>
              <a:spcPct val="35000"/>
            </a:spcAft>
          </a:pPr>
          <a:r>
            <a:rPr lang="en-US" sz="2400" kern="1200" dirty="0"/>
            <a:t>Peer messengers share behavior reports directly with recipients: </a:t>
          </a:r>
        </a:p>
      </dsp:txBody>
      <dsp:txXfrm>
        <a:off x="588643" y="48164"/>
        <a:ext cx="7526259" cy="82577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49C6A6-8184-4F91-ADB7-86B66274E403}">
      <dsp:nvSpPr>
        <dsp:cNvPr id="0" name=""/>
        <dsp:cNvSpPr/>
      </dsp:nvSpPr>
      <dsp:spPr>
        <a:xfrm>
          <a:off x="0" y="1968"/>
          <a:ext cx="11307006"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1E5498-FB98-4D4A-A8E9-6B62B9577C8B}">
      <dsp:nvSpPr>
        <dsp:cNvPr id="0" name=""/>
        <dsp:cNvSpPr/>
      </dsp:nvSpPr>
      <dsp:spPr>
        <a:xfrm>
          <a:off x="0" y="1968"/>
          <a:ext cx="11307006" cy="734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accent1"/>
              </a:solidFill>
            </a:rPr>
            <a:t>Burnout affects interpersonal skills, job performance, career satisfaction, psychological health, and communication.</a:t>
          </a:r>
        </a:p>
      </dsp:txBody>
      <dsp:txXfrm>
        <a:off x="0" y="1968"/>
        <a:ext cx="11307006" cy="734920"/>
      </dsp:txXfrm>
    </dsp:sp>
    <dsp:sp modelId="{E37BB754-FEC1-4F5F-908C-1FB94C6B3DE8}">
      <dsp:nvSpPr>
        <dsp:cNvPr id="0" name=""/>
        <dsp:cNvSpPr/>
      </dsp:nvSpPr>
      <dsp:spPr>
        <a:xfrm>
          <a:off x="0" y="736888"/>
          <a:ext cx="11307006" cy="0"/>
        </a:xfrm>
        <a:prstGeom prst="line">
          <a:avLst/>
        </a:prstGeom>
        <a:solidFill>
          <a:schemeClr val="accent4">
            <a:hueOff val="-839731"/>
            <a:satOff val="7029"/>
            <a:lumOff val="2465"/>
            <a:alphaOff val="0"/>
          </a:schemeClr>
        </a:solidFill>
        <a:ln w="12700" cap="flat" cmpd="sng" algn="ctr">
          <a:solidFill>
            <a:schemeClr val="accent4">
              <a:hueOff val="-839731"/>
              <a:satOff val="7029"/>
              <a:lumOff val="24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6BA37A6-80A5-4B39-BE78-0DD61A8039D7}">
      <dsp:nvSpPr>
        <dsp:cNvPr id="0" name=""/>
        <dsp:cNvSpPr/>
      </dsp:nvSpPr>
      <dsp:spPr>
        <a:xfrm>
          <a:off x="0" y="736888"/>
          <a:ext cx="11307006" cy="591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accent1"/>
              </a:solidFill>
            </a:rPr>
            <a:t>Burnout, workload, and COVID-19-related stresses were associated with intent to reduce hours or leave.</a:t>
          </a:r>
        </a:p>
      </dsp:txBody>
      <dsp:txXfrm>
        <a:off x="0" y="736888"/>
        <a:ext cx="11307006" cy="591309"/>
      </dsp:txXfrm>
    </dsp:sp>
    <dsp:sp modelId="{51A057C4-A4A9-4AC3-B74B-88A76112FFFD}">
      <dsp:nvSpPr>
        <dsp:cNvPr id="0" name=""/>
        <dsp:cNvSpPr/>
      </dsp:nvSpPr>
      <dsp:spPr>
        <a:xfrm>
          <a:off x="0" y="1328198"/>
          <a:ext cx="11307006" cy="0"/>
        </a:xfrm>
        <a:prstGeom prst="line">
          <a:avLst/>
        </a:prstGeom>
        <a:solidFill>
          <a:schemeClr val="accent4">
            <a:hueOff val="-1679462"/>
            <a:satOff val="14059"/>
            <a:lumOff val="4930"/>
            <a:alphaOff val="0"/>
          </a:schemeClr>
        </a:solidFill>
        <a:ln w="12700" cap="flat" cmpd="sng" algn="ctr">
          <a:solidFill>
            <a:schemeClr val="accent4">
              <a:hueOff val="-1679462"/>
              <a:satOff val="14059"/>
              <a:lumOff val="493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A0F8D3-4E89-4317-A4DE-F7B151B87DCD}">
      <dsp:nvSpPr>
        <dsp:cNvPr id="0" name=""/>
        <dsp:cNvSpPr/>
      </dsp:nvSpPr>
      <dsp:spPr>
        <a:xfrm>
          <a:off x="0" y="1328198"/>
          <a:ext cx="11307006" cy="655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accent1"/>
              </a:solidFill>
            </a:rPr>
            <a:t>Approximately 1 in 3 physicians, APPs, and nurses surveyed intend to reduce work hours.</a:t>
          </a:r>
        </a:p>
      </dsp:txBody>
      <dsp:txXfrm>
        <a:off x="0" y="1328198"/>
        <a:ext cx="11307006" cy="655130"/>
      </dsp:txXfrm>
    </dsp:sp>
    <dsp:sp modelId="{73AEE4A5-B004-4818-A81F-51180C5DF739}">
      <dsp:nvSpPr>
        <dsp:cNvPr id="0" name=""/>
        <dsp:cNvSpPr/>
      </dsp:nvSpPr>
      <dsp:spPr>
        <a:xfrm>
          <a:off x="0" y="1983328"/>
          <a:ext cx="11307006" cy="0"/>
        </a:xfrm>
        <a:prstGeom prst="line">
          <a:avLst/>
        </a:prstGeom>
        <a:solidFill>
          <a:schemeClr val="accent4">
            <a:hueOff val="-2519193"/>
            <a:satOff val="21088"/>
            <a:lumOff val="7395"/>
            <a:alphaOff val="0"/>
          </a:schemeClr>
        </a:solidFill>
        <a:ln w="12700" cap="flat" cmpd="sng" algn="ctr">
          <a:solidFill>
            <a:schemeClr val="accent4">
              <a:hueOff val="-2519193"/>
              <a:satOff val="21088"/>
              <a:lumOff val="739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9EBF6F4-5516-419F-8A75-5370AF78D5C0}">
      <dsp:nvSpPr>
        <dsp:cNvPr id="0" name=""/>
        <dsp:cNvSpPr/>
      </dsp:nvSpPr>
      <dsp:spPr>
        <a:xfrm>
          <a:off x="0" y="1983328"/>
          <a:ext cx="11307006" cy="5638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accent1"/>
              </a:solidFill>
            </a:rPr>
            <a:t>1 in 5 physicians and 2 in 5 nurses intend to leave their practice altogether. </a:t>
          </a:r>
        </a:p>
      </dsp:txBody>
      <dsp:txXfrm>
        <a:off x="0" y="1983328"/>
        <a:ext cx="11307006" cy="563831"/>
      </dsp:txXfrm>
    </dsp:sp>
    <dsp:sp modelId="{BEFB0F6D-4365-4F98-83FA-7F95329C4E1E}">
      <dsp:nvSpPr>
        <dsp:cNvPr id="0" name=""/>
        <dsp:cNvSpPr/>
      </dsp:nvSpPr>
      <dsp:spPr>
        <a:xfrm>
          <a:off x="0" y="2547159"/>
          <a:ext cx="11307006" cy="0"/>
        </a:xfrm>
        <a:prstGeom prst="line">
          <a:avLst/>
        </a:prstGeom>
        <a:solidFill>
          <a:schemeClr val="accent4">
            <a:hueOff val="-3358925"/>
            <a:satOff val="28118"/>
            <a:lumOff val="9860"/>
            <a:alphaOff val="0"/>
          </a:schemeClr>
        </a:solidFill>
        <a:ln w="12700" cap="flat" cmpd="sng" algn="ctr">
          <a:solidFill>
            <a:schemeClr val="accent4">
              <a:hueOff val="-3358925"/>
              <a:satOff val="28118"/>
              <a:lumOff val="986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5E50A95-3D5E-424E-8A3B-038780F8F153}">
      <dsp:nvSpPr>
        <dsp:cNvPr id="0" name=""/>
        <dsp:cNvSpPr/>
      </dsp:nvSpPr>
      <dsp:spPr>
        <a:xfrm>
          <a:off x="0" y="2547159"/>
          <a:ext cx="11307006" cy="734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accent1"/>
              </a:solidFill>
            </a:rPr>
            <a:t>Burnout also contributes to medical errors and poor communication, both of which increase the risk of malpractice.</a:t>
          </a:r>
        </a:p>
      </dsp:txBody>
      <dsp:txXfrm>
        <a:off x="0" y="2547159"/>
        <a:ext cx="11307006" cy="734920"/>
      </dsp:txXfrm>
    </dsp:sp>
    <dsp:sp modelId="{831AA036-98E9-4095-A88D-5A66F9E49B97}">
      <dsp:nvSpPr>
        <dsp:cNvPr id="0" name=""/>
        <dsp:cNvSpPr/>
      </dsp:nvSpPr>
      <dsp:spPr>
        <a:xfrm>
          <a:off x="0" y="3282080"/>
          <a:ext cx="11307006" cy="0"/>
        </a:xfrm>
        <a:prstGeom prst="line">
          <a:avLst/>
        </a:prstGeom>
        <a:solidFill>
          <a:schemeClr val="accent4">
            <a:hueOff val="-4198656"/>
            <a:satOff val="35147"/>
            <a:lumOff val="12325"/>
            <a:alphaOff val="0"/>
          </a:schemeClr>
        </a:solidFill>
        <a:ln w="12700" cap="flat" cmpd="sng" algn="ctr">
          <a:solidFill>
            <a:schemeClr val="accent4">
              <a:hueOff val="-4198656"/>
              <a:satOff val="35147"/>
              <a:lumOff val="1232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66F871F-2768-4845-86D8-D9268250E0C2}">
      <dsp:nvSpPr>
        <dsp:cNvPr id="0" name=""/>
        <dsp:cNvSpPr/>
      </dsp:nvSpPr>
      <dsp:spPr>
        <a:xfrm>
          <a:off x="0" y="3282080"/>
          <a:ext cx="11307006" cy="734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accent1"/>
              </a:solidFill>
            </a:rPr>
            <a:t>Reducing burnout and improving a sense of feeling valued may allow healthcare organizations to better maintain their workforces after the pandemic.</a:t>
          </a:r>
        </a:p>
      </dsp:txBody>
      <dsp:txXfrm>
        <a:off x="0" y="3282080"/>
        <a:ext cx="11307006" cy="734920"/>
      </dsp:txXfrm>
    </dsp:sp>
    <dsp:sp modelId="{2A47D5A6-ADC8-4377-9E79-E00EFB712C0A}">
      <dsp:nvSpPr>
        <dsp:cNvPr id="0" name=""/>
        <dsp:cNvSpPr/>
      </dsp:nvSpPr>
      <dsp:spPr>
        <a:xfrm>
          <a:off x="0" y="4017000"/>
          <a:ext cx="11307006" cy="0"/>
        </a:xfrm>
        <a:prstGeom prst="line">
          <a:avLst/>
        </a:prstGeom>
        <a:solidFill>
          <a:schemeClr val="accent4">
            <a:hueOff val="-5038387"/>
            <a:satOff val="42177"/>
            <a:lumOff val="14790"/>
            <a:alphaOff val="0"/>
          </a:schemeClr>
        </a:solidFill>
        <a:ln w="12700" cap="flat" cmpd="sng" algn="ctr">
          <a:solidFill>
            <a:schemeClr val="accent4">
              <a:hueOff val="-5038387"/>
              <a:satOff val="42177"/>
              <a:lumOff val="1479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6D359F-578D-4501-9F0E-BEB184C04D60}">
      <dsp:nvSpPr>
        <dsp:cNvPr id="0" name=""/>
        <dsp:cNvSpPr/>
      </dsp:nvSpPr>
      <dsp:spPr>
        <a:xfrm>
          <a:off x="0" y="4017000"/>
          <a:ext cx="11307006" cy="5551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accent1"/>
              </a:solidFill>
            </a:rPr>
            <a:t>Soft skills training has been shown to help prevent burnout syndrome.</a:t>
          </a:r>
        </a:p>
      </dsp:txBody>
      <dsp:txXfrm>
        <a:off x="0" y="4017000"/>
        <a:ext cx="11307006" cy="555166"/>
      </dsp:txXfrm>
    </dsp:sp>
    <dsp:sp modelId="{822C775B-AA35-478E-B4C7-57745E59C90C}">
      <dsp:nvSpPr>
        <dsp:cNvPr id="0" name=""/>
        <dsp:cNvSpPr/>
      </dsp:nvSpPr>
      <dsp:spPr>
        <a:xfrm>
          <a:off x="0" y="4572167"/>
          <a:ext cx="11307006" cy="0"/>
        </a:xfrm>
        <a:prstGeom prst="line">
          <a:avLst/>
        </a:prstGeom>
        <a:solidFill>
          <a:schemeClr val="accent4">
            <a:hueOff val="-5878118"/>
            <a:satOff val="49206"/>
            <a:lumOff val="17255"/>
            <a:alphaOff val="0"/>
          </a:schemeClr>
        </a:solidFill>
        <a:ln w="12700" cap="flat" cmpd="sng" algn="ctr">
          <a:solidFill>
            <a:schemeClr val="accent4">
              <a:hueOff val="-5878118"/>
              <a:satOff val="49206"/>
              <a:lumOff val="1725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E9FFC9-DEE4-47B1-8E30-8068D67516AD}">
      <dsp:nvSpPr>
        <dsp:cNvPr id="0" name=""/>
        <dsp:cNvSpPr/>
      </dsp:nvSpPr>
      <dsp:spPr>
        <a:xfrm>
          <a:off x="0" y="4572167"/>
          <a:ext cx="11307006" cy="7349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solidFill>
                <a:schemeClr val="accent1"/>
              </a:solidFill>
            </a:rPr>
            <a:t>Healthcare organizations also need early recognition programs aimed at raising awareness and coping with burnout symptoms through stress management and resilience enhancement trainings.</a:t>
          </a:r>
          <a:endParaRPr lang="en-US" sz="1800" kern="1200" dirty="0">
            <a:solidFill>
              <a:schemeClr val="accent1"/>
            </a:solidFill>
          </a:endParaRPr>
        </a:p>
      </dsp:txBody>
      <dsp:txXfrm>
        <a:off x="0" y="4572167"/>
        <a:ext cx="11307006" cy="73492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7FBEC9-F985-4D71-897C-5D4C92FE4C30}">
      <dsp:nvSpPr>
        <dsp:cNvPr id="0" name=""/>
        <dsp:cNvSpPr/>
      </dsp:nvSpPr>
      <dsp:spPr>
        <a:xfrm>
          <a:off x="0" y="117181"/>
          <a:ext cx="5830784" cy="1482974"/>
        </a:xfrm>
        <a:prstGeom prst="roundRect">
          <a:avLst/>
        </a:prstGeom>
        <a:solidFill>
          <a:srgbClr val="002A8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100000"/>
            </a:lnSpc>
            <a:spcBef>
              <a:spcPct val="0"/>
            </a:spcBef>
            <a:spcAft>
              <a:spcPts val="1200"/>
            </a:spcAft>
          </a:pPr>
          <a:r>
            <a:rPr lang="en-US" sz="2000" kern="1200" dirty="0"/>
            <a:t>Empathy has been shown to decrease during medical education and training.</a:t>
          </a:r>
        </a:p>
      </dsp:txBody>
      <dsp:txXfrm>
        <a:off x="72393" y="189574"/>
        <a:ext cx="5685998" cy="1338188"/>
      </dsp:txXfrm>
    </dsp:sp>
    <dsp:sp modelId="{25218263-752F-404A-BC1D-4BD48DC0D336}">
      <dsp:nvSpPr>
        <dsp:cNvPr id="0" name=""/>
        <dsp:cNvSpPr/>
      </dsp:nvSpPr>
      <dsp:spPr>
        <a:xfrm>
          <a:off x="0" y="1787356"/>
          <a:ext cx="5830784" cy="1482974"/>
        </a:xfrm>
        <a:prstGeom prst="roundRect">
          <a:avLst/>
        </a:prstGeom>
        <a:solidFill>
          <a:srgbClr val="037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100000"/>
            </a:lnSpc>
            <a:spcBef>
              <a:spcPct val="0"/>
            </a:spcBef>
            <a:spcAft>
              <a:spcPts val="1200"/>
            </a:spcAft>
          </a:pPr>
          <a:r>
            <a:rPr lang="en-US" sz="2000" kern="1200"/>
            <a:t>Empathy training has been shown to improve active listening, enhance communication, and decrease burnout.</a:t>
          </a:r>
          <a:endParaRPr lang="en-US" sz="2000" kern="1200" dirty="0"/>
        </a:p>
      </dsp:txBody>
      <dsp:txXfrm>
        <a:off x="72393" y="1859749"/>
        <a:ext cx="5685998" cy="1338188"/>
      </dsp:txXfrm>
    </dsp:sp>
    <dsp:sp modelId="{4E5F47EE-DADD-45A0-9FEC-1A84B818F305}">
      <dsp:nvSpPr>
        <dsp:cNvPr id="0" name=""/>
        <dsp:cNvSpPr/>
      </dsp:nvSpPr>
      <dsp:spPr>
        <a:xfrm>
          <a:off x="0" y="3457531"/>
          <a:ext cx="5830784" cy="1482974"/>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100000"/>
            </a:lnSpc>
            <a:spcBef>
              <a:spcPct val="0"/>
            </a:spcBef>
            <a:spcAft>
              <a:spcPts val="1200"/>
            </a:spcAft>
          </a:pPr>
          <a:r>
            <a:rPr lang="en-US" sz="2000" kern="1200"/>
            <a:t>Empathy training has been found to not only improve patient outcomes but also to decrease malpractice risk and improve physician and patient satisfaction.</a:t>
          </a:r>
          <a:endParaRPr lang="en-US" sz="2000" kern="1200" dirty="0"/>
        </a:p>
      </dsp:txBody>
      <dsp:txXfrm>
        <a:off x="72393" y="3529924"/>
        <a:ext cx="5685998" cy="133818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83286E-2114-47FF-AFAC-238A94BC5C77}">
      <dsp:nvSpPr>
        <dsp:cNvPr id="0" name=""/>
        <dsp:cNvSpPr/>
      </dsp:nvSpPr>
      <dsp:spPr>
        <a:xfrm>
          <a:off x="0" y="3572"/>
          <a:ext cx="5057833"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8120F4-F3AD-46B2-AE65-3F6C8A65374A}">
      <dsp:nvSpPr>
        <dsp:cNvPr id="0" name=""/>
        <dsp:cNvSpPr/>
      </dsp:nvSpPr>
      <dsp:spPr>
        <a:xfrm>
          <a:off x="0" y="3572"/>
          <a:ext cx="5057833" cy="587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latin typeface="+mn-lt"/>
            </a:rPr>
            <a:t>Knock before entering exam rooms.</a:t>
          </a:r>
        </a:p>
      </dsp:txBody>
      <dsp:txXfrm>
        <a:off x="0" y="3572"/>
        <a:ext cx="5057833" cy="587304"/>
      </dsp:txXfrm>
    </dsp:sp>
    <dsp:sp modelId="{A41C140F-0E51-49C7-9975-F21634877BDA}">
      <dsp:nvSpPr>
        <dsp:cNvPr id="0" name=""/>
        <dsp:cNvSpPr/>
      </dsp:nvSpPr>
      <dsp:spPr>
        <a:xfrm>
          <a:off x="0" y="590876"/>
          <a:ext cx="5057833" cy="0"/>
        </a:xfrm>
        <a:prstGeom prst="line">
          <a:avLst/>
        </a:prstGeom>
        <a:solidFill>
          <a:schemeClr val="accent3">
            <a:hueOff val="-984396"/>
            <a:satOff val="-8201"/>
            <a:lumOff val="425"/>
            <a:alphaOff val="0"/>
          </a:schemeClr>
        </a:solidFill>
        <a:ln w="12700" cap="flat" cmpd="sng" algn="ctr">
          <a:solidFill>
            <a:schemeClr val="accent3">
              <a:hueOff val="-984396"/>
              <a:satOff val="-8201"/>
              <a:lumOff val="42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C06645-3EA1-45F1-A6F8-11EAAA581ED3}">
      <dsp:nvSpPr>
        <dsp:cNvPr id="0" name=""/>
        <dsp:cNvSpPr/>
      </dsp:nvSpPr>
      <dsp:spPr>
        <a:xfrm>
          <a:off x="0" y="590876"/>
          <a:ext cx="5057833" cy="8484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latin typeface="+mn-lt"/>
            </a:rPr>
            <a:t>Greet patients and introduce yourself (if needed).</a:t>
          </a:r>
        </a:p>
      </dsp:txBody>
      <dsp:txXfrm>
        <a:off x="0" y="590876"/>
        <a:ext cx="5057833" cy="848472"/>
      </dsp:txXfrm>
    </dsp:sp>
    <dsp:sp modelId="{A2C81F1C-98A9-4FFD-926C-7A118AEEDCF4}">
      <dsp:nvSpPr>
        <dsp:cNvPr id="0" name=""/>
        <dsp:cNvSpPr/>
      </dsp:nvSpPr>
      <dsp:spPr>
        <a:xfrm>
          <a:off x="0" y="1439349"/>
          <a:ext cx="5057833" cy="0"/>
        </a:xfrm>
        <a:prstGeom prst="line">
          <a:avLst/>
        </a:prstGeom>
        <a:solidFill>
          <a:schemeClr val="accent3">
            <a:hueOff val="-1968792"/>
            <a:satOff val="-16402"/>
            <a:lumOff val="850"/>
            <a:alphaOff val="0"/>
          </a:schemeClr>
        </a:solidFill>
        <a:ln w="12700" cap="flat" cmpd="sng" algn="ctr">
          <a:solidFill>
            <a:schemeClr val="accent3">
              <a:hueOff val="-1968792"/>
              <a:satOff val="-16402"/>
              <a:lumOff val="85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2B8BFC-1998-401A-BB32-22CC57AE4193}">
      <dsp:nvSpPr>
        <dsp:cNvPr id="0" name=""/>
        <dsp:cNvSpPr/>
      </dsp:nvSpPr>
      <dsp:spPr>
        <a:xfrm>
          <a:off x="0" y="1439349"/>
          <a:ext cx="5057833" cy="8484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latin typeface="+mn-lt"/>
            </a:rPr>
            <a:t>Sit when you can and maintain eye contact when talking to patients.</a:t>
          </a:r>
        </a:p>
      </dsp:txBody>
      <dsp:txXfrm>
        <a:off x="0" y="1439349"/>
        <a:ext cx="5057833" cy="848472"/>
      </dsp:txXfrm>
    </dsp:sp>
    <dsp:sp modelId="{46B36447-F9CE-4114-91FF-3A75309FBCBB}">
      <dsp:nvSpPr>
        <dsp:cNvPr id="0" name=""/>
        <dsp:cNvSpPr/>
      </dsp:nvSpPr>
      <dsp:spPr>
        <a:xfrm>
          <a:off x="0" y="2287821"/>
          <a:ext cx="5057833"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8B1A157-6C03-4A54-9834-83D3A5CE77FA}">
      <dsp:nvSpPr>
        <dsp:cNvPr id="0" name=""/>
        <dsp:cNvSpPr/>
      </dsp:nvSpPr>
      <dsp:spPr>
        <a:xfrm>
          <a:off x="0" y="2287821"/>
          <a:ext cx="5057833" cy="8484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latin typeface="+mn-lt"/>
            </a:rPr>
            <a:t>Be aware of nonverbal communication and cues.</a:t>
          </a:r>
        </a:p>
      </dsp:txBody>
      <dsp:txXfrm>
        <a:off x="0" y="2287821"/>
        <a:ext cx="5057833" cy="848472"/>
      </dsp:txXfrm>
    </dsp:sp>
    <dsp:sp modelId="{E5B48737-1134-4668-842B-419557E663FE}">
      <dsp:nvSpPr>
        <dsp:cNvPr id="0" name=""/>
        <dsp:cNvSpPr/>
      </dsp:nvSpPr>
      <dsp:spPr>
        <a:xfrm>
          <a:off x="0" y="3136293"/>
          <a:ext cx="5057833" cy="0"/>
        </a:xfrm>
        <a:prstGeom prst="line">
          <a:avLst/>
        </a:prstGeom>
        <a:solidFill>
          <a:schemeClr val="accent3">
            <a:hueOff val="-3937584"/>
            <a:satOff val="-32804"/>
            <a:lumOff val="1699"/>
            <a:alphaOff val="0"/>
          </a:schemeClr>
        </a:solidFill>
        <a:ln w="12700" cap="flat" cmpd="sng" algn="ctr">
          <a:solidFill>
            <a:schemeClr val="accent3">
              <a:hueOff val="-3937584"/>
              <a:satOff val="-32804"/>
              <a:lumOff val="169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BFD212-A63B-450E-AC76-B828719BE806}">
      <dsp:nvSpPr>
        <dsp:cNvPr id="0" name=""/>
        <dsp:cNvSpPr/>
      </dsp:nvSpPr>
      <dsp:spPr>
        <a:xfrm>
          <a:off x="0" y="3136293"/>
          <a:ext cx="5057833" cy="6931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latin typeface="+mn-lt"/>
            </a:rPr>
            <a:t>Ask patients about their goals for the visit.</a:t>
          </a:r>
        </a:p>
      </dsp:txBody>
      <dsp:txXfrm>
        <a:off x="0" y="3136293"/>
        <a:ext cx="5057833" cy="693159"/>
      </dsp:txXfrm>
    </dsp:sp>
    <dsp:sp modelId="{D27E0969-82ED-4EB5-8EC7-38DC45CFFE51}">
      <dsp:nvSpPr>
        <dsp:cNvPr id="0" name=""/>
        <dsp:cNvSpPr/>
      </dsp:nvSpPr>
      <dsp:spPr>
        <a:xfrm>
          <a:off x="0" y="3829452"/>
          <a:ext cx="5057833" cy="0"/>
        </a:xfrm>
        <a:prstGeom prst="line">
          <a:avLst/>
        </a:prstGeom>
        <a:solidFill>
          <a:schemeClr val="accent3">
            <a:hueOff val="-4921980"/>
            <a:satOff val="-41005"/>
            <a:lumOff val="2124"/>
            <a:alphaOff val="0"/>
          </a:schemeClr>
        </a:solidFill>
        <a:ln w="12700" cap="flat" cmpd="sng" algn="ctr">
          <a:solidFill>
            <a:schemeClr val="accent3">
              <a:hueOff val="-4921980"/>
              <a:satOff val="-41005"/>
              <a:lumOff val="212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CC935D-E4C6-481C-A506-B429EDBDB83C}">
      <dsp:nvSpPr>
        <dsp:cNvPr id="0" name=""/>
        <dsp:cNvSpPr/>
      </dsp:nvSpPr>
      <dsp:spPr>
        <a:xfrm>
          <a:off x="0" y="3829452"/>
          <a:ext cx="5057833" cy="6794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latin typeface="+mn-lt"/>
            </a:rPr>
            <a:t>Don’t interrupt while patients are talking.</a:t>
          </a:r>
        </a:p>
      </dsp:txBody>
      <dsp:txXfrm>
        <a:off x="0" y="3829452"/>
        <a:ext cx="5057833" cy="679431"/>
      </dsp:txXfrm>
    </dsp:sp>
    <dsp:sp modelId="{63DB75B7-9EDC-41A7-B4A2-385061860107}">
      <dsp:nvSpPr>
        <dsp:cNvPr id="0" name=""/>
        <dsp:cNvSpPr/>
      </dsp:nvSpPr>
      <dsp:spPr>
        <a:xfrm>
          <a:off x="0" y="4508884"/>
          <a:ext cx="5057833"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34B598-3DF8-4389-86E9-D3214463F6B4}">
      <dsp:nvSpPr>
        <dsp:cNvPr id="0" name=""/>
        <dsp:cNvSpPr/>
      </dsp:nvSpPr>
      <dsp:spPr>
        <a:xfrm>
          <a:off x="0" y="4508884"/>
          <a:ext cx="5057833" cy="6285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latin typeface="+mn-lt"/>
            </a:rPr>
            <a:t>Ask open-ended questions.</a:t>
          </a:r>
        </a:p>
      </dsp:txBody>
      <dsp:txXfrm>
        <a:off x="0" y="4508884"/>
        <a:ext cx="5057833" cy="628582"/>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D5FC92-1F3B-45F1-A72E-1E4E5A52E796}">
      <dsp:nvSpPr>
        <dsp:cNvPr id="0" name=""/>
        <dsp:cNvSpPr/>
      </dsp:nvSpPr>
      <dsp:spPr>
        <a:xfrm>
          <a:off x="0" y="2510"/>
          <a:ext cx="531571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74E77A-9FC8-41E8-B1A1-6C9C119F44DF}">
      <dsp:nvSpPr>
        <dsp:cNvPr id="0" name=""/>
        <dsp:cNvSpPr/>
      </dsp:nvSpPr>
      <dsp:spPr>
        <a:xfrm>
          <a:off x="0" y="2510"/>
          <a:ext cx="5315712" cy="856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rPr>
            <a:t>Use layman’s language and visual aids to ensure comprehension.</a:t>
          </a:r>
        </a:p>
      </dsp:txBody>
      <dsp:txXfrm>
        <a:off x="0" y="2510"/>
        <a:ext cx="5315712" cy="856003"/>
      </dsp:txXfrm>
    </dsp:sp>
    <dsp:sp modelId="{3169A1C5-9521-4650-A845-70FCF4C61563}">
      <dsp:nvSpPr>
        <dsp:cNvPr id="0" name=""/>
        <dsp:cNvSpPr/>
      </dsp:nvSpPr>
      <dsp:spPr>
        <a:xfrm>
          <a:off x="0" y="858513"/>
          <a:ext cx="5315712" cy="0"/>
        </a:xfrm>
        <a:prstGeom prst="line">
          <a:avLst/>
        </a:prstGeom>
        <a:solidFill>
          <a:schemeClr val="accent3">
            <a:hueOff val="-1181275"/>
            <a:satOff val="-9841"/>
            <a:lumOff val="510"/>
            <a:alphaOff val="0"/>
          </a:schemeClr>
        </a:solidFill>
        <a:ln w="12700" cap="flat" cmpd="sng" algn="ctr">
          <a:solidFill>
            <a:schemeClr val="accent3">
              <a:hueOff val="-1181275"/>
              <a:satOff val="-9841"/>
              <a:lumOff val="51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02452D-0668-4797-8682-CEC010F9EE3E}">
      <dsp:nvSpPr>
        <dsp:cNvPr id="0" name=""/>
        <dsp:cNvSpPr/>
      </dsp:nvSpPr>
      <dsp:spPr>
        <a:xfrm>
          <a:off x="0" y="858513"/>
          <a:ext cx="5315712" cy="856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rPr>
            <a:t>Provide plain-language follow-up instructions and educational materials.</a:t>
          </a:r>
        </a:p>
      </dsp:txBody>
      <dsp:txXfrm>
        <a:off x="0" y="858513"/>
        <a:ext cx="5315712" cy="856003"/>
      </dsp:txXfrm>
    </dsp:sp>
    <dsp:sp modelId="{7B824CDD-60AD-4239-B936-2B9685CC941B}">
      <dsp:nvSpPr>
        <dsp:cNvPr id="0" name=""/>
        <dsp:cNvSpPr/>
      </dsp:nvSpPr>
      <dsp:spPr>
        <a:xfrm>
          <a:off x="0" y="1714516"/>
          <a:ext cx="5315712" cy="0"/>
        </a:xfrm>
        <a:prstGeom prst="line">
          <a:avLst/>
        </a:prstGeom>
        <a:solidFill>
          <a:schemeClr val="accent3">
            <a:hueOff val="-2362550"/>
            <a:satOff val="-19682"/>
            <a:lumOff val="1020"/>
            <a:alphaOff val="0"/>
          </a:schemeClr>
        </a:solidFill>
        <a:ln w="12700" cap="flat" cmpd="sng" algn="ctr">
          <a:solidFill>
            <a:schemeClr val="accent3">
              <a:hueOff val="-2362550"/>
              <a:satOff val="-19682"/>
              <a:lumOff val="102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B25DA4D-EE14-4BEE-AE81-DA5EF38C1739}">
      <dsp:nvSpPr>
        <dsp:cNvPr id="0" name=""/>
        <dsp:cNvSpPr/>
      </dsp:nvSpPr>
      <dsp:spPr>
        <a:xfrm>
          <a:off x="0" y="1714516"/>
          <a:ext cx="5315712" cy="856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rPr>
            <a:t>Use the teach-back technique to ensure comprehension.</a:t>
          </a:r>
        </a:p>
      </dsp:txBody>
      <dsp:txXfrm>
        <a:off x="0" y="1714516"/>
        <a:ext cx="5315712" cy="856003"/>
      </dsp:txXfrm>
    </dsp:sp>
    <dsp:sp modelId="{565525A1-2055-46BE-AB8C-85BCB14467A9}">
      <dsp:nvSpPr>
        <dsp:cNvPr id="0" name=""/>
        <dsp:cNvSpPr/>
      </dsp:nvSpPr>
      <dsp:spPr>
        <a:xfrm>
          <a:off x="0" y="2570519"/>
          <a:ext cx="5315712" cy="0"/>
        </a:xfrm>
        <a:prstGeom prst="line">
          <a:avLst/>
        </a:prstGeom>
        <a:solidFill>
          <a:schemeClr val="accent3">
            <a:hueOff val="-3543826"/>
            <a:satOff val="-29524"/>
            <a:lumOff val="1529"/>
            <a:alphaOff val="0"/>
          </a:schemeClr>
        </a:solidFill>
        <a:ln w="12700" cap="flat" cmpd="sng" algn="ctr">
          <a:solidFill>
            <a:schemeClr val="accent3">
              <a:hueOff val="-3543826"/>
              <a:satOff val="-29524"/>
              <a:lumOff val="152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B299A17-52F4-4688-B59F-63F18AEE3868}">
      <dsp:nvSpPr>
        <dsp:cNvPr id="0" name=""/>
        <dsp:cNvSpPr/>
      </dsp:nvSpPr>
      <dsp:spPr>
        <a:xfrm>
          <a:off x="0" y="2570519"/>
          <a:ext cx="5315712" cy="856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rPr>
            <a:t>Encourage patients to voice questions and concerns.</a:t>
          </a:r>
        </a:p>
      </dsp:txBody>
      <dsp:txXfrm>
        <a:off x="0" y="2570519"/>
        <a:ext cx="5315712" cy="856003"/>
      </dsp:txXfrm>
    </dsp:sp>
    <dsp:sp modelId="{287EA983-1ECB-49CA-B9A9-EABD62303F68}">
      <dsp:nvSpPr>
        <dsp:cNvPr id="0" name=""/>
        <dsp:cNvSpPr/>
      </dsp:nvSpPr>
      <dsp:spPr>
        <a:xfrm>
          <a:off x="0" y="3426522"/>
          <a:ext cx="5315712" cy="0"/>
        </a:xfrm>
        <a:prstGeom prst="line">
          <a:avLst/>
        </a:prstGeom>
        <a:solidFill>
          <a:schemeClr val="accent3">
            <a:hueOff val="-4725101"/>
            <a:satOff val="-39365"/>
            <a:lumOff val="2039"/>
            <a:alphaOff val="0"/>
          </a:schemeClr>
        </a:solidFill>
        <a:ln w="12700" cap="flat" cmpd="sng" algn="ctr">
          <a:solidFill>
            <a:schemeClr val="accent3">
              <a:hueOff val="-4725101"/>
              <a:satOff val="-39365"/>
              <a:lumOff val="203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52FC78-63FE-4830-BEA0-49482991FA4B}">
      <dsp:nvSpPr>
        <dsp:cNvPr id="0" name=""/>
        <dsp:cNvSpPr/>
      </dsp:nvSpPr>
      <dsp:spPr>
        <a:xfrm>
          <a:off x="0" y="3426522"/>
          <a:ext cx="5315712" cy="856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rPr>
            <a:t>Consider patients’ personal and cultural preferences and values.</a:t>
          </a:r>
        </a:p>
      </dsp:txBody>
      <dsp:txXfrm>
        <a:off x="0" y="3426522"/>
        <a:ext cx="5315712" cy="856003"/>
      </dsp:txXfrm>
    </dsp:sp>
    <dsp:sp modelId="{71956507-5F2C-4116-B21E-E81758D39D1D}">
      <dsp:nvSpPr>
        <dsp:cNvPr id="0" name=""/>
        <dsp:cNvSpPr/>
      </dsp:nvSpPr>
      <dsp:spPr>
        <a:xfrm>
          <a:off x="0" y="4282525"/>
          <a:ext cx="5315712"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09171F-EB4A-40B1-8EC1-85A93804E63B}">
      <dsp:nvSpPr>
        <dsp:cNvPr id="0" name=""/>
        <dsp:cNvSpPr/>
      </dsp:nvSpPr>
      <dsp:spPr>
        <a:xfrm>
          <a:off x="0" y="4282525"/>
          <a:ext cx="5315712" cy="8560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100000"/>
            </a:lnSpc>
            <a:spcBef>
              <a:spcPct val="0"/>
            </a:spcBef>
            <a:spcAft>
              <a:spcPct val="35000"/>
            </a:spcAft>
          </a:pPr>
          <a:r>
            <a:rPr lang="en-US" sz="2000" kern="1200" dirty="0">
              <a:solidFill>
                <a:schemeClr val="accent1"/>
              </a:solidFill>
            </a:rPr>
            <a:t>Use satisfaction surveys to gauge patient perceptions.</a:t>
          </a:r>
        </a:p>
      </dsp:txBody>
      <dsp:txXfrm>
        <a:off x="0" y="4282525"/>
        <a:ext cx="5315712" cy="856003"/>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E0ACC7-2CAE-438D-A37B-7458EEF818BB}">
      <dsp:nvSpPr>
        <dsp:cNvPr id="0" name=""/>
        <dsp:cNvSpPr/>
      </dsp:nvSpPr>
      <dsp:spPr>
        <a:xfrm>
          <a:off x="0" y="501821"/>
          <a:ext cx="3510959" cy="2106575"/>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a:t>Policies and procedures (code of conduct)</a:t>
          </a:r>
        </a:p>
      </dsp:txBody>
      <dsp:txXfrm>
        <a:off x="0" y="501821"/>
        <a:ext cx="3510959" cy="2106575"/>
      </dsp:txXfrm>
    </dsp:sp>
    <dsp:sp modelId="{C200E4BE-2E54-47F1-A6D9-6A90A876D3B9}">
      <dsp:nvSpPr>
        <dsp:cNvPr id="0" name=""/>
        <dsp:cNvSpPr/>
      </dsp:nvSpPr>
      <dsp:spPr>
        <a:xfrm>
          <a:off x="3862055" y="501821"/>
          <a:ext cx="3510959" cy="2106575"/>
        </a:xfrm>
        <a:prstGeom prst="rect">
          <a:avLst/>
        </a:prstGeom>
        <a:solidFill>
          <a:srgbClr val="005E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a:t>Medical executive committee and leadership support</a:t>
          </a:r>
        </a:p>
      </dsp:txBody>
      <dsp:txXfrm>
        <a:off x="3862055" y="501821"/>
        <a:ext cx="3510959" cy="2106575"/>
      </dsp:txXfrm>
    </dsp:sp>
    <dsp:sp modelId="{0529BDF4-F6E4-48FE-B4C0-445640F95CD9}">
      <dsp:nvSpPr>
        <dsp:cNvPr id="0" name=""/>
        <dsp:cNvSpPr/>
      </dsp:nvSpPr>
      <dsp:spPr>
        <a:xfrm>
          <a:off x="7724110" y="501821"/>
          <a:ext cx="3510959" cy="2106575"/>
        </a:xfrm>
        <a:prstGeom prst="rect">
          <a:avLst/>
        </a:prstGeom>
        <a:solidFill>
          <a:srgbClr val="037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a:t>Early intervention and monitoring</a:t>
          </a:r>
        </a:p>
      </dsp:txBody>
      <dsp:txXfrm>
        <a:off x="7724110" y="501821"/>
        <a:ext cx="3510959" cy="2106575"/>
      </dsp:txXfrm>
    </dsp:sp>
    <dsp:sp modelId="{6AAFEE8A-8AD1-445F-9C68-B84AE03071CA}">
      <dsp:nvSpPr>
        <dsp:cNvPr id="0" name=""/>
        <dsp:cNvSpPr/>
      </dsp:nvSpPr>
      <dsp:spPr>
        <a:xfrm>
          <a:off x="0" y="2959492"/>
          <a:ext cx="3510959" cy="2106575"/>
        </a:xfrm>
        <a:prstGeom prst="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a:t>Staff education and team training</a:t>
          </a:r>
        </a:p>
      </dsp:txBody>
      <dsp:txXfrm>
        <a:off x="0" y="2959492"/>
        <a:ext cx="3510959" cy="2106575"/>
      </dsp:txXfrm>
    </dsp:sp>
    <dsp:sp modelId="{6823E6B6-73BE-4777-89F9-AF6E587DA939}">
      <dsp:nvSpPr>
        <dsp:cNvPr id="0" name=""/>
        <dsp:cNvSpPr/>
      </dsp:nvSpPr>
      <dsp:spPr>
        <a:xfrm>
          <a:off x="3862055" y="2959492"/>
          <a:ext cx="3510959" cy="2106575"/>
        </a:xfrm>
        <a:prstGeom prst="rect">
          <a:avLst/>
        </a:prstGeom>
        <a:solidFill>
          <a:srgbClr val="21D3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a:t>Handoff procedures, e.g., situation, background, assessment, recommendation (SBAR)</a:t>
          </a:r>
        </a:p>
      </dsp:txBody>
      <dsp:txXfrm>
        <a:off x="3862055" y="2959492"/>
        <a:ext cx="3510959" cy="2106575"/>
      </dsp:txXfrm>
    </dsp:sp>
    <dsp:sp modelId="{48DDA940-1214-40E6-BB04-2996CD20C634}">
      <dsp:nvSpPr>
        <dsp:cNvPr id="0" name=""/>
        <dsp:cNvSpPr/>
      </dsp:nvSpPr>
      <dsp:spPr>
        <a:xfrm>
          <a:off x="7724110" y="2959492"/>
          <a:ext cx="3510959" cy="2106575"/>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US" sz="2400" kern="1200" dirty="0"/>
            <a:t>Culture of safety surveys</a:t>
          </a:r>
        </a:p>
      </dsp:txBody>
      <dsp:txXfrm>
        <a:off x="7724110" y="2959492"/>
        <a:ext cx="3510959" cy="2106575"/>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2BA582-E489-448D-A740-4D65239FC528}">
      <dsp:nvSpPr>
        <dsp:cNvPr id="0" name=""/>
        <dsp:cNvSpPr/>
      </dsp:nvSpPr>
      <dsp:spPr>
        <a:xfrm>
          <a:off x="-5927737" y="-907120"/>
          <a:ext cx="7056800" cy="7056800"/>
        </a:xfrm>
        <a:prstGeom prst="blockArc">
          <a:avLst>
            <a:gd name="adj1" fmla="val 18900000"/>
            <a:gd name="adj2" fmla="val 2700000"/>
            <a:gd name="adj3" fmla="val 306"/>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FC5CBF8-FEC5-4416-B514-F94638ACA3A3}">
      <dsp:nvSpPr>
        <dsp:cNvPr id="0" name=""/>
        <dsp:cNvSpPr/>
      </dsp:nvSpPr>
      <dsp:spPr>
        <a:xfrm>
          <a:off x="420572" y="276073"/>
          <a:ext cx="10646939" cy="55193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00" tIns="60960" rIns="60960" bIns="60960" numCol="1" spcCol="1270" anchor="ctr" anchorCtr="0">
          <a:noAutofit/>
        </a:bodyPr>
        <a:lstStyle/>
        <a:p>
          <a:pPr lvl="0" algn="l" defTabSz="1066800" rtl="0">
            <a:lnSpc>
              <a:spcPct val="90000"/>
            </a:lnSpc>
            <a:spcBef>
              <a:spcPct val="0"/>
            </a:spcBef>
            <a:spcAft>
              <a:spcPct val="35000"/>
            </a:spcAft>
          </a:pPr>
          <a:r>
            <a:rPr lang="en-US" sz="2400" kern="1200" dirty="0"/>
            <a:t>Staff and physician education: policy and procedures</a:t>
          </a:r>
        </a:p>
      </dsp:txBody>
      <dsp:txXfrm>
        <a:off x="420572" y="276073"/>
        <a:ext cx="10646939" cy="551936"/>
      </dsp:txXfrm>
    </dsp:sp>
    <dsp:sp modelId="{7607129B-1030-43B3-AB07-ABFC03745A0C}">
      <dsp:nvSpPr>
        <dsp:cNvPr id="0" name=""/>
        <dsp:cNvSpPr/>
      </dsp:nvSpPr>
      <dsp:spPr>
        <a:xfrm>
          <a:off x="75612" y="207081"/>
          <a:ext cx="689920" cy="68992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5532506-B045-4231-97C7-9DF5859C3AC4}">
      <dsp:nvSpPr>
        <dsp:cNvPr id="0" name=""/>
        <dsp:cNvSpPr/>
      </dsp:nvSpPr>
      <dsp:spPr>
        <a:xfrm>
          <a:off x="874578" y="1103873"/>
          <a:ext cx="10192933" cy="551936"/>
        </a:xfrm>
        <a:prstGeom prst="rect">
          <a:avLst/>
        </a:prstGeom>
        <a:solidFill>
          <a:schemeClr val="accent2">
            <a:hueOff val="9884"/>
            <a:satOff val="12632"/>
            <a:lumOff val="1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00" tIns="60960" rIns="60960" bIns="60960" numCol="1" spcCol="1270" anchor="ctr" anchorCtr="0">
          <a:noAutofit/>
        </a:bodyPr>
        <a:lstStyle/>
        <a:p>
          <a:pPr lvl="0" algn="l" defTabSz="1066800" rtl="0">
            <a:lnSpc>
              <a:spcPct val="90000"/>
            </a:lnSpc>
            <a:spcBef>
              <a:spcPct val="0"/>
            </a:spcBef>
            <a:spcAft>
              <a:spcPct val="35000"/>
            </a:spcAft>
          </a:pPr>
          <a:r>
            <a:rPr lang="en-US" sz="2400" kern="1200" dirty="0"/>
            <a:t>Compliance: policy and procedures</a:t>
          </a:r>
        </a:p>
      </dsp:txBody>
      <dsp:txXfrm>
        <a:off x="874578" y="1103873"/>
        <a:ext cx="10192933" cy="551936"/>
      </dsp:txXfrm>
    </dsp:sp>
    <dsp:sp modelId="{54E43296-76AE-414A-ADA5-F69DD8AD0516}">
      <dsp:nvSpPr>
        <dsp:cNvPr id="0" name=""/>
        <dsp:cNvSpPr/>
      </dsp:nvSpPr>
      <dsp:spPr>
        <a:xfrm>
          <a:off x="529617" y="1034881"/>
          <a:ext cx="689920" cy="689920"/>
        </a:xfrm>
        <a:prstGeom prst="ellipse">
          <a:avLst/>
        </a:prstGeom>
        <a:solidFill>
          <a:schemeClr val="lt1">
            <a:hueOff val="0"/>
            <a:satOff val="0"/>
            <a:lumOff val="0"/>
            <a:alphaOff val="0"/>
          </a:schemeClr>
        </a:solidFill>
        <a:ln w="12700" cap="flat" cmpd="sng" algn="ctr">
          <a:solidFill>
            <a:schemeClr val="accent2">
              <a:hueOff val="9884"/>
              <a:satOff val="12632"/>
              <a:lumOff val="1412"/>
              <a:alphaOff val="0"/>
            </a:schemeClr>
          </a:solidFill>
          <a:prstDash val="solid"/>
          <a:miter lim="800000"/>
        </a:ln>
        <a:effectLst/>
      </dsp:spPr>
      <dsp:style>
        <a:lnRef idx="2">
          <a:scrgbClr r="0" g="0" b="0"/>
        </a:lnRef>
        <a:fillRef idx="1">
          <a:scrgbClr r="0" g="0" b="0"/>
        </a:fillRef>
        <a:effectRef idx="0">
          <a:scrgbClr r="0" g="0" b="0"/>
        </a:effectRef>
        <a:fontRef idx="minor"/>
      </dsp:style>
    </dsp:sp>
    <dsp:sp modelId="{8DB2761C-38FD-421C-8713-7B2FFC98B2AD}">
      <dsp:nvSpPr>
        <dsp:cNvPr id="0" name=""/>
        <dsp:cNvSpPr/>
      </dsp:nvSpPr>
      <dsp:spPr>
        <a:xfrm>
          <a:off x="1082183" y="1931673"/>
          <a:ext cx="9985328" cy="551936"/>
        </a:xfrm>
        <a:prstGeom prst="rect">
          <a:avLst/>
        </a:prstGeom>
        <a:solidFill>
          <a:schemeClr val="accent2">
            <a:hueOff val="19767"/>
            <a:satOff val="25263"/>
            <a:lumOff val="2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00" tIns="60960" rIns="60960" bIns="60960" numCol="1" spcCol="1270" anchor="ctr" anchorCtr="0">
          <a:noAutofit/>
        </a:bodyPr>
        <a:lstStyle/>
        <a:p>
          <a:pPr lvl="0" algn="l" defTabSz="1066800" rtl="0">
            <a:lnSpc>
              <a:spcPct val="90000"/>
            </a:lnSpc>
            <a:spcBef>
              <a:spcPct val="0"/>
            </a:spcBef>
            <a:spcAft>
              <a:spcPct val="35000"/>
            </a:spcAft>
          </a:pPr>
          <a:r>
            <a:rPr lang="en-US" sz="2400" kern="1200" dirty="0"/>
            <a:t>Compliance: partnership agreement (financial incentives)</a:t>
          </a:r>
        </a:p>
      </dsp:txBody>
      <dsp:txXfrm>
        <a:off x="1082183" y="1931673"/>
        <a:ext cx="9985328" cy="551936"/>
      </dsp:txXfrm>
    </dsp:sp>
    <dsp:sp modelId="{4F3841E6-3D58-4435-AB24-1268A90DC8C0}">
      <dsp:nvSpPr>
        <dsp:cNvPr id="0" name=""/>
        <dsp:cNvSpPr/>
      </dsp:nvSpPr>
      <dsp:spPr>
        <a:xfrm>
          <a:off x="737223" y="1862681"/>
          <a:ext cx="689920" cy="689920"/>
        </a:xfrm>
        <a:prstGeom prst="ellipse">
          <a:avLst/>
        </a:prstGeom>
        <a:solidFill>
          <a:schemeClr val="lt1">
            <a:hueOff val="0"/>
            <a:satOff val="0"/>
            <a:lumOff val="0"/>
            <a:alphaOff val="0"/>
          </a:schemeClr>
        </a:solidFill>
        <a:ln w="12700" cap="flat" cmpd="sng" algn="ctr">
          <a:solidFill>
            <a:schemeClr val="accent2">
              <a:hueOff val="19767"/>
              <a:satOff val="25263"/>
              <a:lumOff val="2824"/>
              <a:alphaOff val="0"/>
            </a:schemeClr>
          </a:solidFill>
          <a:prstDash val="solid"/>
          <a:miter lim="800000"/>
        </a:ln>
        <a:effectLst/>
      </dsp:spPr>
      <dsp:style>
        <a:lnRef idx="2">
          <a:scrgbClr r="0" g="0" b="0"/>
        </a:lnRef>
        <a:fillRef idx="1">
          <a:scrgbClr r="0" g="0" b="0"/>
        </a:fillRef>
        <a:effectRef idx="0">
          <a:scrgbClr r="0" g="0" b="0"/>
        </a:effectRef>
        <a:fontRef idx="minor"/>
      </dsp:style>
    </dsp:sp>
    <dsp:sp modelId="{7994D257-02E1-4BDA-8D67-A90EC3F9162B}">
      <dsp:nvSpPr>
        <dsp:cNvPr id="0" name=""/>
        <dsp:cNvSpPr/>
      </dsp:nvSpPr>
      <dsp:spPr>
        <a:xfrm>
          <a:off x="1082183" y="2758949"/>
          <a:ext cx="9985328" cy="551936"/>
        </a:xfrm>
        <a:prstGeom prst="rect">
          <a:avLst/>
        </a:prstGeom>
        <a:solidFill>
          <a:schemeClr val="accent2">
            <a:hueOff val="29651"/>
            <a:satOff val="37895"/>
            <a:lumOff val="4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00" tIns="60960" rIns="60960" bIns="60960" numCol="1" spcCol="1270" anchor="ctr" anchorCtr="0">
          <a:noAutofit/>
        </a:bodyPr>
        <a:lstStyle/>
        <a:p>
          <a:pPr lvl="0" algn="l" defTabSz="1066800" rtl="0">
            <a:lnSpc>
              <a:spcPct val="90000"/>
            </a:lnSpc>
            <a:spcBef>
              <a:spcPct val="0"/>
            </a:spcBef>
            <a:spcAft>
              <a:spcPct val="35000"/>
            </a:spcAft>
          </a:pPr>
          <a:r>
            <a:rPr lang="en-US" sz="2400" kern="1200" dirty="0"/>
            <a:t>Physician performance: monthly review meetings</a:t>
          </a:r>
        </a:p>
      </dsp:txBody>
      <dsp:txXfrm>
        <a:off x="1082183" y="2758949"/>
        <a:ext cx="9985328" cy="551936"/>
      </dsp:txXfrm>
    </dsp:sp>
    <dsp:sp modelId="{7AE298F1-4712-4A2B-ABC1-A4E769DCF3E3}">
      <dsp:nvSpPr>
        <dsp:cNvPr id="0" name=""/>
        <dsp:cNvSpPr/>
      </dsp:nvSpPr>
      <dsp:spPr>
        <a:xfrm>
          <a:off x="737223" y="2689957"/>
          <a:ext cx="689920" cy="689920"/>
        </a:xfrm>
        <a:prstGeom prst="ellipse">
          <a:avLst/>
        </a:prstGeom>
        <a:solidFill>
          <a:schemeClr val="lt1">
            <a:hueOff val="0"/>
            <a:satOff val="0"/>
            <a:lumOff val="0"/>
            <a:alphaOff val="0"/>
          </a:schemeClr>
        </a:solidFill>
        <a:ln w="12700" cap="flat" cmpd="sng" algn="ctr">
          <a:solidFill>
            <a:schemeClr val="accent2">
              <a:hueOff val="29651"/>
              <a:satOff val="37895"/>
              <a:lumOff val="4235"/>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BF10FE-D3EE-4961-A138-BD50B57D93BB}">
      <dsp:nvSpPr>
        <dsp:cNvPr id="0" name=""/>
        <dsp:cNvSpPr/>
      </dsp:nvSpPr>
      <dsp:spPr>
        <a:xfrm>
          <a:off x="874578" y="3586749"/>
          <a:ext cx="10192933" cy="551936"/>
        </a:xfrm>
        <a:prstGeom prst="rect">
          <a:avLst/>
        </a:prstGeom>
        <a:solidFill>
          <a:schemeClr val="accent2">
            <a:hueOff val="39535"/>
            <a:satOff val="50526"/>
            <a:lumOff val="5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00" tIns="60960" rIns="60960" bIns="60960" numCol="1" spcCol="1270" anchor="ctr" anchorCtr="0">
          <a:noAutofit/>
        </a:bodyPr>
        <a:lstStyle/>
        <a:p>
          <a:pPr lvl="0" algn="l" defTabSz="1066800" rtl="0">
            <a:lnSpc>
              <a:spcPct val="90000"/>
            </a:lnSpc>
            <a:spcBef>
              <a:spcPct val="0"/>
            </a:spcBef>
            <a:spcAft>
              <a:spcPct val="35000"/>
            </a:spcAft>
          </a:pPr>
          <a:r>
            <a:rPr lang="en-US" sz="2400" kern="1200" dirty="0"/>
            <a:t>Physician: cancel appointments until charts complete</a:t>
          </a:r>
        </a:p>
      </dsp:txBody>
      <dsp:txXfrm>
        <a:off x="874578" y="3586749"/>
        <a:ext cx="10192933" cy="551936"/>
      </dsp:txXfrm>
    </dsp:sp>
    <dsp:sp modelId="{F845B0A6-D479-4276-B602-2B4643E2C4B3}">
      <dsp:nvSpPr>
        <dsp:cNvPr id="0" name=""/>
        <dsp:cNvSpPr/>
      </dsp:nvSpPr>
      <dsp:spPr>
        <a:xfrm>
          <a:off x="529617" y="3517757"/>
          <a:ext cx="689920" cy="689920"/>
        </a:xfrm>
        <a:prstGeom prst="ellipse">
          <a:avLst/>
        </a:prstGeom>
        <a:solidFill>
          <a:schemeClr val="lt1">
            <a:hueOff val="0"/>
            <a:satOff val="0"/>
            <a:lumOff val="0"/>
            <a:alphaOff val="0"/>
          </a:schemeClr>
        </a:solidFill>
        <a:ln w="12700" cap="flat" cmpd="sng" algn="ctr">
          <a:solidFill>
            <a:schemeClr val="accent2">
              <a:hueOff val="39535"/>
              <a:satOff val="50526"/>
              <a:lumOff val="5647"/>
              <a:alphaOff val="0"/>
            </a:schemeClr>
          </a:solidFill>
          <a:prstDash val="solid"/>
          <a:miter lim="800000"/>
        </a:ln>
        <a:effectLst/>
      </dsp:spPr>
      <dsp:style>
        <a:lnRef idx="2">
          <a:scrgbClr r="0" g="0" b="0"/>
        </a:lnRef>
        <a:fillRef idx="1">
          <a:scrgbClr r="0" g="0" b="0"/>
        </a:fillRef>
        <a:effectRef idx="0">
          <a:scrgbClr r="0" g="0" b="0"/>
        </a:effectRef>
        <a:fontRef idx="minor"/>
      </dsp:style>
    </dsp:sp>
    <dsp:sp modelId="{5C121E8F-A899-4B32-88F4-8BC23E181EB5}">
      <dsp:nvSpPr>
        <dsp:cNvPr id="0" name=""/>
        <dsp:cNvSpPr/>
      </dsp:nvSpPr>
      <dsp:spPr>
        <a:xfrm>
          <a:off x="420572" y="4414550"/>
          <a:ext cx="10646939" cy="551936"/>
        </a:xfrm>
        <a:prstGeom prst="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00" tIns="60960" rIns="60960" bIns="60960" numCol="1" spcCol="1270" anchor="ctr" anchorCtr="0">
          <a:noAutofit/>
        </a:bodyPr>
        <a:lstStyle/>
        <a:p>
          <a:pPr lvl="0" algn="l" defTabSz="1066800" rtl="0">
            <a:lnSpc>
              <a:spcPct val="90000"/>
            </a:lnSpc>
            <a:spcBef>
              <a:spcPct val="0"/>
            </a:spcBef>
            <a:spcAft>
              <a:spcPct val="35000"/>
            </a:spcAft>
          </a:pPr>
          <a:r>
            <a:rPr lang="en-US" sz="2400" kern="1200" dirty="0"/>
            <a:t>Chain of command/referral</a:t>
          </a:r>
        </a:p>
      </dsp:txBody>
      <dsp:txXfrm>
        <a:off x="420572" y="4414550"/>
        <a:ext cx="10646939" cy="551936"/>
      </dsp:txXfrm>
    </dsp:sp>
    <dsp:sp modelId="{42C54A75-CDCD-4AC7-BBE6-D052BF8CB5A6}">
      <dsp:nvSpPr>
        <dsp:cNvPr id="0" name=""/>
        <dsp:cNvSpPr/>
      </dsp:nvSpPr>
      <dsp:spPr>
        <a:xfrm>
          <a:off x="75612" y="4345557"/>
          <a:ext cx="689920" cy="689920"/>
        </a:xfrm>
        <a:prstGeom prst="ellipse">
          <a:avLst/>
        </a:prstGeom>
        <a:solidFill>
          <a:schemeClr val="lt1">
            <a:hueOff val="0"/>
            <a:satOff val="0"/>
            <a:lumOff val="0"/>
            <a:alphaOff val="0"/>
          </a:schemeClr>
        </a:solidFill>
        <a:ln w="12700" cap="flat" cmpd="sng" algn="ctr">
          <a:solidFill>
            <a:schemeClr val="accent2">
              <a:hueOff val="49418"/>
              <a:satOff val="63158"/>
              <a:lumOff val="7059"/>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4FA58B-6E73-4077-ABE0-C68DBA6BEA46}">
      <dsp:nvSpPr>
        <dsp:cNvPr id="0" name=""/>
        <dsp:cNvSpPr/>
      </dsp:nvSpPr>
      <dsp:spPr>
        <a:xfrm>
          <a:off x="0" y="4497"/>
          <a:ext cx="5857279"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463973-D778-4048-9EB4-ED45F60490B4}">
      <dsp:nvSpPr>
        <dsp:cNvPr id="0" name=""/>
        <dsp:cNvSpPr/>
      </dsp:nvSpPr>
      <dsp:spPr>
        <a:xfrm>
          <a:off x="0" y="4497"/>
          <a:ext cx="5857279" cy="13342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a:solidFill>
                <a:schemeClr val="tx2"/>
              </a:solidFill>
            </a:rPr>
            <a:t>Soft skills are personal traits or attributes that characterize an individual’s relationships with other people. </a:t>
          </a:r>
        </a:p>
      </dsp:txBody>
      <dsp:txXfrm>
        <a:off x="0" y="4497"/>
        <a:ext cx="5857279" cy="1334214"/>
      </dsp:txXfrm>
    </dsp:sp>
    <dsp:sp modelId="{836442CF-38CF-4716-9A89-E3985D306B0D}">
      <dsp:nvSpPr>
        <dsp:cNvPr id="0" name=""/>
        <dsp:cNvSpPr/>
      </dsp:nvSpPr>
      <dsp:spPr>
        <a:xfrm>
          <a:off x="0" y="1338711"/>
          <a:ext cx="5857279" cy="0"/>
        </a:xfrm>
        <a:prstGeom prst="line">
          <a:avLst/>
        </a:prstGeom>
        <a:solidFill>
          <a:schemeClr val="accent4">
            <a:hueOff val="-1959373"/>
            <a:satOff val="16402"/>
            <a:lumOff val="5752"/>
            <a:alphaOff val="0"/>
          </a:schemeClr>
        </a:solidFill>
        <a:ln w="12700" cap="flat" cmpd="sng" algn="ctr">
          <a:solidFill>
            <a:schemeClr val="accent4">
              <a:hueOff val="-1959373"/>
              <a:satOff val="16402"/>
              <a:lumOff val="57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2D86CDF-6D9D-459A-ADD4-454F74E75D11}">
      <dsp:nvSpPr>
        <dsp:cNvPr id="0" name=""/>
        <dsp:cNvSpPr/>
      </dsp:nvSpPr>
      <dsp:spPr>
        <a:xfrm>
          <a:off x="0" y="1338711"/>
          <a:ext cx="5857279" cy="13342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a:solidFill>
                <a:schemeClr val="tx2"/>
              </a:solidFill>
            </a:rPr>
            <a:t>Soft skills are considered to be a complement to hard skills (knowledge and occupational skills).</a:t>
          </a:r>
        </a:p>
      </dsp:txBody>
      <dsp:txXfrm>
        <a:off x="0" y="1338711"/>
        <a:ext cx="5857279" cy="1334214"/>
      </dsp:txXfrm>
    </dsp:sp>
    <dsp:sp modelId="{03E7CA08-1C74-45CF-AC66-B2B83839A825}">
      <dsp:nvSpPr>
        <dsp:cNvPr id="0" name=""/>
        <dsp:cNvSpPr/>
      </dsp:nvSpPr>
      <dsp:spPr>
        <a:xfrm>
          <a:off x="0" y="2672926"/>
          <a:ext cx="5857279" cy="0"/>
        </a:xfrm>
        <a:prstGeom prst="line">
          <a:avLst/>
        </a:prstGeom>
        <a:solidFill>
          <a:schemeClr val="accent4">
            <a:hueOff val="-3918745"/>
            <a:satOff val="32804"/>
            <a:lumOff val="11503"/>
            <a:alphaOff val="0"/>
          </a:schemeClr>
        </a:solidFill>
        <a:ln w="12700" cap="flat" cmpd="sng" algn="ctr">
          <a:solidFill>
            <a:schemeClr val="accent4">
              <a:hueOff val="-3918745"/>
              <a:satOff val="32804"/>
              <a:lumOff val="1150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C2B6AD-A9E1-4582-AF6A-AF3FB3CB733C}">
      <dsp:nvSpPr>
        <dsp:cNvPr id="0" name=""/>
        <dsp:cNvSpPr/>
      </dsp:nvSpPr>
      <dsp:spPr>
        <a:xfrm>
          <a:off x="0" y="2672926"/>
          <a:ext cx="5857279" cy="1067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a:solidFill>
                <a:schemeClr val="tx2"/>
              </a:solidFill>
            </a:rPr>
            <a:t>In healthcare, hard skills refer to technical skills and medical decision-making skills. </a:t>
          </a:r>
        </a:p>
      </dsp:txBody>
      <dsp:txXfrm>
        <a:off x="0" y="2672926"/>
        <a:ext cx="5857279" cy="1067304"/>
      </dsp:txXfrm>
    </dsp:sp>
    <dsp:sp modelId="{162CE14D-03F6-432A-A9F1-E974C48E20C3}">
      <dsp:nvSpPr>
        <dsp:cNvPr id="0" name=""/>
        <dsp:cNvSpPr/>
      </dsp:nvSpPr>
      <dsp:spPr>
        <a:xfrm>
          <a:off x="0" y="3740231"/>
          <a:ext cx="5857279" cy="0"/>
        </a:xfrm>
        <a:prstGeom prst="line">
          <a:avLst/>
        </a:prstGeom>
        <a:solidFill>
          <a:schemeClr val="accent4">
            <a:hueOff val="-5878118"/>
            <a:satOff val="49206"/>
            <a:lumOff val="17255"/>
            <a:alphaOff val="0"/>
          </a:schemeClr>
        </a:solidFill>
        <a:ln w="12700" cap="flat" cmpd="sng" algn="ctr">
          <a:solidFill>
            <a:schemeClr val="accent4">
              <a:hueOff val="-5878118"/>
              <a:satOff val="49206"/>
              <a:lumOff val="1725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76CE8CA-406E-4FEC-8F3D-BFACA48628DE}">
      <dsp:nvSpPr>
        <dsp:cNvPr id="0" name=""/>
        <dsp:cNvSpPr/>
      </dsp:nvSpPr>
      <dsp:spPr>
        <a:xfrm>
          <a:off x="0" y="3740231"/>
          <a:ext cx="5857279" cy="13342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a:solidFill>
                <a:schemeClr val="tx2"/>
              </a:solidFill>
            </a:rPr>
            <a:t>Sociologists use the term soft skills to describe a person's emotional intelligence quotient (EQ).</a:t>
          </a:r>
        </a:p>
      </dsp:txBody>
      <dsp:txXfrm>
        <a:off x="0" y="3740231"/>
        <a:ext cx="5857279" cy="1334214"/>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61100B-0E2A-4EAE-AC8C-208C9AC56F95}">
      <dsp:nvSpPr>
        <dsp:cNvPr id="0" name=""/>
        <dsp:cNvSpPr/>
      </dsp:nvSpPr>
      <dsp:spPr>
        <a:xfrm>
          <a:off x="0" y="2606"/>
          <a:ext cx="11196319"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240EE99-5F33-4E60-AA61-4C9D3329864B}">
      <dsp:nvSpPr>
        <dsp:cNvPr id="0" name=""/>
        <dsp:cNvSpPr/>
      </dsp:nvSpPr>
      <dsp:spPr>
        <a:xfrm>
          <a:off x="0" y="2606"/>
          <a:ext cx="11196319" cy="888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latin typeface="+mn-lt"/>
            </a:rPr>
            <a:t>In healthcare, soft skills allow individuals to communicate effectively, build </a:t>
          </a:r>
          <a:br>
            <a:rPr lang="en-US" sz="1800" kern="1200" dirty="0">
              <a:solidFill>
                <a:schemeClr val="tx2"/>
              </a:solidFill>
              <a:latin typeface="+mn-lt"/>
            </a:rPr>
          </a:br>
          <a:r>
            <a:rPr lang="en-US" sz="1800" kern="1200" dirty="0">
              <a:solidFill>
                <a:schemeClr val="tx2"/>
              </a:solidFill>
              <a:latin typeface="+mn-lt"/>
            </a:rPr>
            <a:t>relationships, solve problems, and maintain professionalism.</a:t>
          </a:r>
        </a:p>
      </dsp:txBody>
      <dsp:txXfrm>
        <a:off x="0" y="2606"/>
        <a:ext cx="11196319" cy="888872"/>
      </dsp:txXfrm>
    </dsp:sp>
    <dsp:sp modelId="{21A8BA9F-B70D-4738-8E80-2DAA8442E898}">
      <dsp:nvSpPr>
        <dsp:cNvPr id="0" name=""/>
        <dsp:cNvSpPr/>
      </dsp:nvSpPr>
      <dsp:spPr>
        <a:xfrm>
          <a:off x="0" y="891479"/>
          <a:ext cx="11196319" cy="0"/>
        </a:xfrm>
        <a:prstGeom prst="line">
          <a:avLst/>
        </a:prstGeom>
        <a:solidFill>
          <a:schemeClr val="accent4">
            <a:hueOff val="-1175624"/>
            <a:satOff val="9841"/>
            <a:lumOff val="3451"/>
            <a:alphaOff val="0"/>
          </a:schemeClr>
        </a:solidFill>
        <a:ln w="12700" cap="flat" cmpd="sng" algn="ctr">
          <a:solidFill>
            <a:schemeClr val="accent4">
              <a:hueOff val="-1175624"/>
              <a:satOff val="9841"/>
              <a:lumOff val="345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6421D4-2E7B-497E-A49C-DBA99393B609}">
      <dsp:nvSpPr>
        <dsp:cNvPr id="0" name=""/>
        <dsp:cNvSpPr/>
      </dsp:nvSpPr>
      <dsp:spPr>
        <a:xfrm>
          <a:off x="0" y="891479"/>
          <a:ext cx="11196319" cy="888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solidFill>
                <a:schemeClr val="tx2"/>
              </a:solidFill>
              <a:latin typeface="+mn-lt"/>
            </a:rPr>
            <a:t>Physician education and training programs are increasingly recognizing the value of soft skills and incorporating them into curricula and requirements.</a:t>
          </a:r>
          <a:endParaRPr lang="en-US" sz="1800" kern="1200" dirty="0">
            <a:solidFill>
              <a:schemeClr val="tx2"/>
            </a:solidFill>
            <a:latin typeface="+mn-lt"/>
          </a:endParaRPr>
        </a:p>
      </dsp:txBody>
      <dsp:txXfrm>
        <a:off x="0" y="891479"/>
        <a:ext cx="11196319" cy="888872"/>
      </dsp:txXfrm>
    </dsp:sp>
    <dsp:sp modelId="{C512CBDB-DC8D-4157-AE81-B87169F74FBD}">
      <dsp:nvSpPr>
        <dsp:cNvPr id="0" name=""/>
        <dsp:cNvSpPr/>
      </dsp:nvSpPr>
      <dsp:spPr>
        <a:xfrm>
          <a:off x="0" y="1780352"/>
          <a:ext cx="11196319" cy="0"/>
        </a:xfrm>
        <a:prstGeom prst="line">
          <a:avLst/>
        </a:prstGeom>
        <a:solidFill>
          <a:schemeClr val="accent4">
            <a:hueOff val="-2351247"/>
            <a:satOff val="19682"/>
            <a:lumOff val="6902"/>
            <a:alphaOff val="0"/>
          </a:schemeClr>
        </a:solidFill>
        <a:ln w="12700" cap="flat" cmpd="sng" algn="ctr">
          <a:solidFill>
            <a:schemeClr val="accent4">
              <a:hueOff val="-2351247"/>
              <a:satOff val="19682"/>
              <a:lumOff val="690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79DD72A-6059-4342-B91F-DFE6858175E9}">
      <dsp:nvSpPr>
        <dsp:cNvPr id="0" name=""/>
        <dsp:cNvSpPr/>
      </dsp:nvSpPr>
      <dsp:spPr>
        <a:xfrm>
          <a:off x="0" y="1780352"/>
          <a:ext cx="11196319" cy="888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latin typeface="+mn-lt"/>
            </a:rPr>
            <a:t>Communication, a critical soft skill, is a contributing factor in 46% of malpractice cases. Communication failures can occur among members of the healthcare team or between clinicians and patients.</a:t>
          </a:r>
        </a:p>
      </dsp:txBody>
      <dsp:txXfrm>
        <a:off x="0" y="1780352"/>
        <a:ext cx="11196319" cy="888872"/>
      </dsp:txXfrm>
    </dsp:sp>
    <dsp:sp modelId="{00B6D4CA-07B1-40CC-AC4A-64D708930AED}">
      <dsp:nvSpPr>
        <dsp:cNvPr id="0" name=""/>
        <dsp:cNvSpPr/>
      </dsp:nvSpPr>
      <dsp:spPr>
        <a:xfrm>
          <a:off x="0" y="2669224"/>
          <a:ext cx="11196319" cy="0"/>
        </a:xfrm>
        <a:prstGeom prst="line">
          <a:avLst/>
        </a:prstGeom>
        <a:solidFill>
          <a:schemeClr val="accent4">
            <a:hueOff val="-3526871"/>
            <a:satOff val="29524"/>
            <a:lumOff val="10353"/>
            <a:alphaOff val="0"/>
          </a:schemeClr>
        </a:solidFill>
        <a:ln w="12700" cap="flat" cmpd="sng" algn="ctr">
          <a:solidFill>
            <a:schemeClr val="accent4">
              <a:hueOff val="-3526871"/>
              <a:satOff val="29524"/>
              <a:lumOff val="1035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1567DF-0E48-48F5-A47A-EE0DB3907C6B}">
      <dsp:nvSpPr>
        <dsp:cNvPr id="0" name=""/>
        <dsp:cNvSpPr/>
      </dsp:nvSpPr>
      <dsp:spPr>
        <a:xfrm>
          <a:off x="0" y="2669225"/>
          <a:ext cx="11196319" cy="888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latin typeface="+mn-lt"/>
            </a:rPr>
            <a:t>Behavior is another factor that contributes to malpractice risk. Disruptive behaviors can lead to medical errors, decrease patient satisfaction, increase costs, and affect the overall quality of care provided.</a:t>
          </a:r>
        </a:p>
      </dsp:txBody>
      <dsp:txXfrm>
        <a:off x="0" y="2669225"/>
        <a:ext cx="11196319" cy="888872"/>
      </dsp:txXfrm>
    </dsp:sp>
    <dsp:sp modelId="{08BE4898-AB26-4F5F-A778-12EE0A59632E}">
      <dsp:nvSpPr>
        <dsp:cNvPr id="0" name=""/>
        <dsp:cNvSpPr/>
      </dsp:nvSpPr>
      <dsp:spPr>
        <a:xfrm>
          <a:off x="0" y="3558097"/>
          <a:ext cx="11196319" cy="0"/>
        </a:xfrm>
        <a:prstGeom prst="line">
          <a:avLst/>
        </a:prstGeom>
        <a:solidFill>
          <a:schemeClr val="accent4">
            <a:hueOff val="-4702495"/>
            <a:satOff val="39365"/>
            <a:lumOff val="13804"/>
            <a:alphaOff val="0"/>
          </a:schemeClr>
        </a:solidFill>
        <a:ln w="12700" cap="flat" cmpd="sng" algn="ctr">
          <a:solidFill>
            <a:schemeClr val="accent4">
              <a:hueOff val="-4702495"/>
              <a:satOff val="39365"/>
              <a:lumOff val="1380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BD612B-4114-43D5-92FA-EA8D322FAF5E}">
      <dsp:nvSpPr>
        <dsp:cNvPr id="0" name=""/>
        <dsp:cNvSpPr/>
      </dsp:nvSpPr>
      <dsp:spPr>
        <a:xfrm>
          <a:off x="0" y="3558097"/>
          <a:ext cx="11196319" cy="888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latin typeface="+mn-lt"/>
            </a:rPr>
            <a:t>Burnout and lack of empathy are other issues that plague healthcare and can result in toxic work environments, staff absenteeism and turnover, and increased professional liability exposure.</a:t>
          </a:r>
        </a:p>
      </dsp:txBody>
      <dsp:txXfrm>
        <a:off x="0" y="3558097"/>
        <a:ext cx="11196319" cy="888872"/>
      </dsp:txXfrm>
    </dsp:sp>
    <dsp:sp modelId="{AB310D8D-A270-41F9-B6F5-300927A57930}">
      <dsp:nvSpPr>
        <dsp:cNvPr id="0" name=""/>
        <dsp:cNvSpPr/>
      </dsp:nvSpPr>
      <dsp:spPr>
        <a:xfrm>
          <a:off x="0" y="4446970"/>
          <a:ext cx="11196319" cy="0"/>
        </a:xfrm>
        <a:prstGeom prst="line">
          <a:avLst/>
        </a:prstGeom>
        <a:solidFill>
          <a:schemeClr val="accent4">
            <a:hueOff val="-5878118"/>
            <a:satOff val="49206"/>
            <a:lumOff val="17255"/>
            <a:alphaOff val="0"/>
          </a:schemeClr>
        </a:solidFill>
        <a:ln w="12700" cap="flat" cmpd="sng" algn="ctr">
          <a:solidFill>
            <a:schemeClr val="accent4">
              <a:hueOff val="-5878118"/>
              <a:satOff val="49206"/>
              <a:lumOff val="1725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449E30-9EF9-4ADD-8915-75F62C7F2324}">
      <dsp:nvSpPr>
        <dsp:cNvPr id="0" name=""/>
        <dsp:cNvSpPr/>
      </dsp:nvSpPr>
      <dsp:spPr>
        <a:xfrm>
          <a:off x="0" y="4446970"/>
          <a:ext cx="11196319" cy="888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a:solidFill>
                <a:schemeClr val="tx2"/>
              </a:solidFill>
              <a:latin typeface="+mn-lt"/>
            </a:rPr>
            <a:t>Strategies to enhance soft skills and address pervasive problems in healthcare can benefit physicians by cultivating better doctor–patient relationships, alleviating burnout, improving teamwork, reinforcing safety culture, and reducing medical errors.</a:t>
          </a:r>
          <a:endParaRPr lang="en-US" sz="1800" kern="1200" dirty="0">
            <a:solidFill>
              <a:schemeClr val="tx2"/>
            </a:solidFill>
            <a:latin typeface="+mn-lt"/>
          </a:endParaRPr>
        </a:p>
      </dsp:txBody>
      <dsp:txXfrm>
        <a:off x="0" y="4446970"/>
        <a:ext cx="11196319" cy="8888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CE72A2-ACF5-47AD-8DD8-9BF0B9A50A5E}">
      <dsp:nvSpPr>
        <dsp:cNvPr id="0" name=""/>
        <dsp:cNvSpPr/>
      </dsp:nvSpPr>
      <dsp:spPr>
        <a:xfrm>
          <a:off x="0" y="2878"/>
          <a:ext cx="693928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859AB2-4123-48DC-812E-2E1D71097EDB}">
      <dsp:nvSpPr>
        <dsp:cNvPr id="0" name=""/>
        <dsp:cNvSpPr/>
      </dsp:nvSpPr>
      <dsp:spPr>
        <a:xfrm>
          <a:off x="0" y="2878"/>
          <a:ext cx="6939280" cy="8699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rPr>
            <a:t>Historically, medical schools have selected students who are high achievers, excel at exams, and are assertive and competitive.</a:t>
          </a:r>
        </a:p>
      </dsp:txBody>
      <dsp:txXfrm>
        <a:off x="0" y="2878"/>
        <a:ext cx="6939280" cy="869990"/>
      </dsp:txXfrm>
    </dsp:sp>
    <dsp:sp modelId="{AE6606AF-DB9C-4FA3-8CE3-37A21E6B0368}">
      <dsp:nvSpPr>
        <dsp:cNvPr id="0" name=""/>
        <dsp:cNvSpPr/>
      </dsp:nvSpPr>
      <dsp:spPr>
        <a:xfrm>
          <a:off x="0" y="872869"/>
          <a:ext cx="6939280" cy="0"/>
        </a:xfrm>
        <a:prstGeom prst="line">
          <a:avLst/>
        </a:prstGeom>
        <a:solidFill>
          <a:schemeClr val="accent2">
            <a:hueOff val="9884"/>
            <a:satOff val="12632"/>
            <a:lumOff val="1412"/>
            <a:alphaOff val="0"/>
          </a:schemeClr>
        </a:solidFill>
        <a:ln w="12700" cap="flat" cmpd="sng" algn="ctr">
          <a:solidFill>
            <a:schemeClr val="accent2">
              <a:hueOff val="9884"/>
              <a:satOff val="12632"/>
              <a:lumOff val="141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7ED9AE-FBF2-4EBE-958B-E8C5EDB93290}">
      <dsp:nvSpPr>
        <dsp:cNvPr id="0" name=""/>
        <dsp:cNvSpPr/>
      </dsp:nvSpPr>
      <dsp:spPr>
        <a:xfrm>
          <a:off x="0" y="872869"/>
          <a:ext cx="6932503" cy="10860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rPr>
            <a:t>Residency and fellowship training is rigorous, with long hours spent on learning the hard skills necessary to achieve technical excellence and medical decision-making. </a:t>
          </a:r>
        </a:p>
      </dsp:txBody>
      <dsp:txXfrm>
        <a:off x="0" y="872869"/>
        <a:ext cx="6932503" cy="1086059"/>
      </dsp:txXfrm>
    </dsp:sp>
    <dsp:sp modelId="{28F6C550-6E11-4FE0-A119-A815CBDE8DF9}">
      <dsp:nvSpPr>
        <dsp:cNvPr id="0" name=""/>
        <dsp:cNvSpPr/>
      </dsp:nvSpPr>
      <dsp:spPr>
        <a:xfrm>
          <a:off x="0" y="1958928"/>
          <a:ext cx="6939280" cy="0"/>
        </a:xfrm>
        <a:prstGeom prst="line">
          <a:avLst/>
        </a:prstGeom>
        <a:solidFill>
          <a:schemeClr val="accent2">
            <a:hueOff val="19767"/>
            <a:satOff val="25263"/>
            <a:lumOff val="2824"/>
            <a:alphaOff val="0"/>
          </a:schemeClr>
        </a:solidFill>
        <a:ln w="12700" cap="flat" cmpd="sng" algn="ctr">
          <a:solidFill>
            <a:schemeClr val="accent2">
              <a:hueOff val="19767"/>
              <a:satOff val="25263"/>
              <a:lumOff val="282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03A4257-8900-41C1-B1F3-3E7053726FAE}">
      <dsp:nvSpPr>
        <dsp:cNvPr id="0" name=""/>
        <dsp:cNvSpPr/>
      </dsp:nvSpPr>
      <dsp:spPr>
        <a:xfrm>
          <a:off x="0" y="1958928"/>
          <a:ext cx="6939280" cy="5825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rPr>
            <a:t>Over the past decade, these processes have evolved.</a:t>
          </a:r>
        </a:p>
      </dsp:txBody>
      <dsp:txXfrm>
        <a:off x="0" y="1958928"/>
        <a:ext cx="6939280" cy="582505"/>
      </dsp:txXfrm>
    </dsp:sp>
    <dsp:sp modelId="{293DB607-DC94-4320-ABE3-4A58FE006814}">
      <dsp:nvSpPr>
        <dsp:cNvPr id="0" name=""/>
        <dsp:cNvSpPr/>
      </dsp:nvSpPr>
      <dsp:spPr>
        <a:xfrm>
          <a:off x="0" y="2541433"/>
          <a:ext cx="6939280" cy="0"/>
        </a:xfrm>
        <a:prstGeom prst="line">
          <a:avLst/>
        </a:prstGeom>
        <a:solidFill>
          <a:schemeClr val="accent2">
            <a:hueOff val="29651"/>
            <a:satOff val="37895"/>
            <a:lumOff val="4235"/>
            <a:alphaOff val="0"/>
          </a:schemeClr>
        </a:solidFill>
        <a:ln w="12700" cap="flat" cmpd="sng" algn="ctr">
          <a:solidFill>
            <a:schemeClr val="accent2">
              <a:hueOff val="29651"/>
              <a:satOff val="37895"/>
              <a:lumOff val="423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124FF5-579D-4DA2-BFC7-060C592983AA}">
      <dsp:nvSpPr>
        <dsp:cNvPr id="0" name=""/>
        <dsp:cNvSpPr/>
      </dsp:nvSpPr>
      <dsp:spPr>
        <a:xfrm>
          <a:off x="0" y="2541433"/>
          <a:ext cx="6939280" cy="8401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rPr>
            <a:t>The Medical College Admission Test</a:t>
          </a:r>
          <a:r>
            <a:rPr lang="en-US" sz="1800" kern="1200" baseline="30000" dirty="0">
              <a:solidFill>
                <a:schemeClr val="tx2"/>
              </a:solidFill>
            </a:rPr>
            <a:t>®</a:t>
          </a:r>
          <a:r>
            <a:rPr lang="en-US" sz="1800" kern="1200" dirty="0">
              <a:solidFill>
                <a:schemeClr val="tx2"/>
              </a:solidFill>
            </a:rPr>
            <a:t> was updated in 2015 to include questions related to psychology, sociology, and reasoning.</a:t>
          </a:r>
        </a:p>
      </dsp:txBody>
      <dsp:txXfrm>
        <a:off x="0" y="2541433"/>
        <a:ext cx="6939280" cy="840198"/>
      </dsp:txXfrm>
    </dsp:sp>
    <dsp:sp modelId="{7BBB4FAB-7818-4FC5-918D-D9EEE05AC3CA}">
      <dsp:nvSpPr>
        <dsp:cNvPr id="0" name=""/>
        <dsp:cNvSpPr/>
      </dsp:nvSpPr>
      <dsp:spPr>
        <a:xfrm>
          <a:off x="0" y="3381632"/>
          <a:ext cx="6939280" cy="0"/>
        </a:xfrm>
        <a:prstGeom prst="line">
          <a:avLst/>
        </a:prstGeom>
        <a:solidFill>
          <a:schemeClr val="accent2">
            <a:hueOff val="39535"/>
            <a:satOff val="50526"/>
            <a:lumOff val="5647"/>
            <a:alphaOff val="0"/>
          </a:schemeClr>
        </a:solidFill>
        <a:ln w="12700" cap="flat" cmpd="sng" algn="ctr">
          <a:solidFill>
            <a:schemeClr val="accent2">
              <a:hueOff val="39535"/>
              <a:satOff val="50526"/>
              <a:lumOff val="564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7F14D9-4CFB-45DB-9DF3-36C6267CD51E}">
      <dsp:nvSpPr>
        <dsp:cNvPr id="0" name=""/>
        <dsp:cNvSpPr/>
      </dsp:nvSpPr>
      <dsp:spPr>
        <a:xfrm>
          <a:off x="0" y="3381632"/>
          <a:ext cx="6932503" cy="12439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rPr>
            <a:t>The Accreditation Council for Graduate Medical Education has incorporated interpersonal skills, communication, and professionalism into its six core competencies and supporting specialty-specific milestones.</a:t>
          </a:r>
        </a:p>
      </dsp:txBody>
      <dsp:txXfrm>
        <a:off x="0" y="3381632"/>
        <a:ext cx="6932503" cy="1243970"/>
      </dsp:txXfrm>
    </dsp:sp>
    <dsp:sp modelId="{13AE7B4D-134C-433F-A593-B05916180FD6}">
      <dsp:nvSpPr>
        <dsp:cNvPr id="0" name=""/>
        <dsp:cNvSpPr/>
      </dsp:nvSpPr>
      <dsp:spPr>
        <a:xfrm>
          <a:off x="0" y="4625603"/>
          <a:ext cx="6939280" cy="0"/>
        </a:xfrm>
        <a:prstGeom prst="line">
          <a:avLst/>
        </a:prstGeom>
        <a:solidFill>
          <a:schemeClr val="accent2">
            <a:hueOff val="49418"/>
            <a:satOff val="63158"/>
            <a:lumOff val="7059"/>
            <a:alphaOff val="0"/>
          </a:schemeClr>
        </a:solidFill>
        <a:ln w="12700" cap="flat" cmpd="sng" algn="ctr">
          <a:solidFill>
            <a:schemeClr val="accent2">
              <a:hueOff val="49418"/>
              <a:satOff val="63158"/>
              <a:lumOff val="70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13FD6A-6C86-4523-BC57-5AF88DC499AE}">
      <dsp:nvSpPr>
        <dsp:cNvPr id="0" name=""/>
        <dsp:cNvSpPr/>
      </dsp:nvSpPr>
      <dsp:spPr>
        <a:xfrm>
          <a:off x="0" y="4625603"/>
          <a:ext cx="6939280" cy="7901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kern="1200" dirty="0">
              <a:solidFill>
                <a:schemeClr val="tx2"/>
              </a:solidFill>
            </a:rPr>
            <a:t>These criteria are now a requirement for completing residency training and obtaining medical licensure. </a:t>
          </a:r>
        </a:p>
      </dsp:txBody>
      <dsp:txXfrm>
        <a:off x="0" y="4625603"/>
        <a:ext cx="6939280" cy="79018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0A5B7E-38ED-4BD2-84BA-71CE9A6DB5F5}">
      <dsp:nvSpPr>
        <dsp:cNvPr id="0" name=""/>
        <dsp:cNvSpPr/>
      </dsp:nvSpPr>
      <dsp:spPr>
        <a:xfrm>
          <a:off x="0" y="1521"/>
          <a:ext cx="11138452"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3DDA36-04CA-470E-9C23-A0044E5A47D1}">
      <dsp:nvSpPr>
        <dsp:cNvPr id="0" name=""/>
        <dsp:cNvSpPr/>
      </dsp:nvSpPr>
      <dsp:spPr>
        <a:xfrm>
          <a:off x="0" y="1521"/>
          <a:ext cx="11138452" cy="8403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Communication is a critical contributing factor in 46% of malpractice cases.</a:t>
          </a:r>
        </a:p>
      </dsp:txBody>
      <dsp:txXfrm>
        <a:off x="0" y="1521"/>
        <a:ext cx="11138452" cy="840327"/>
      </dsp:txXfrm>
    </dsp:sp>
    <dsp:sp modelId="{9EECAA52-EA83-439F-9F8F-9B94281A4E22}">
      <dsp:nvSpPr>
        <dsp:cNvPr id="0" name=""/>
        <dsp:cNvSpPr/>
      </dsp:nvSpPr>
      <dsp:spPr>
        <a:xfrm>
          <a:off x="0" y="841848"/>
          <a:ext cx="11138452" cy="0"/>
        </a:xfrm>
        <a:prstGeom prst="line">
          <a:avLst/>
        </a:prstGeom>
        <a:solidFill>
          <a:schemeClr val="accent3">
            <a:hueOff val="-1476594"/>
            <a:satOff val="-12302"/>
            <a:lumOff val="637"/>
            <a:alphaOff val="0"/>
          </a:schemeClr>
        </a:solidFill>
        <a:ln w="12700" cap="flat" cmpd="sng" algn="ctr">
          <a:solidFill>
            <a:schemeClr val="accent3">
              <a:hueOff val="-1476594"/>
              <a:satOff val="-12302"/>
              <a:lumOff val="63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01DEAC-3884-4405-8B9F-233887B8E152}">
      <dsp:nvSpPr>
        <dsp:cNvPr id="0" name=""/>
        <dsp:cNvSpPr/>
      </dsp:nvSpPr>
      <dsp:spPr>
        <a:xfrm>
          <a:off x="0" y="841848"/>
          <a:ext cx="11138452" cy="990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Inadequate or poor communication can occur among various members of the care team or between clinicians and patients. </a:t>
          </a:r>
        </a:p>
      </dsp:txBody>
      <dsp:txXfrm>
        <a:off x="0" y="841848"/>
        <a:ext cx="11138452" cy="990049"/>
      </dsp:txXfrm>
    </dsp:sp>
    <dsp:sp modelId="{E754CA18-EF0F-4E33-A9A6-BD385C82A452}">
      <dsp:nvSpPr>
        <dsp:cNvPr id="0" name=""/>
        <dsp:cNvSpPr/>
      </dsp:nvSpPr>
      <dsp:spPr>
        <a:xfrm>
          <a:off x="0" y="1831898"/>
          <a:ext cx="11138452"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95D9444-7230-4C75-9FDA-32288B6E4847}">
      <dsp:nvSpPr>
        <dsp:cNvPr id="0" name=""/>
        <dsp:cNvSpPr/>
      </dsp:nvSpPr>
      <dsp:spPr>
        <a:xfrm>
          <a:off x="0" y="1831898"/>
          <a:ext cx="11127574" cy="11970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Active listening, having patience, and being aware of communication barriers (e.g., health literacy issues and cultural differences) are helpful techniques for improving patient comprehension. </a:t>
          </a:r>
        </a:p>
      </dsp:txBody>
      <dsp:txXfrm>
        <a:off x="0" y="1831898"/>
        <a:ext cx="11127574" cy="1197033"/>
      </dsp:txXfrm>
    </dsp:sp>
    <dsp:sp modelId="{F392AFD0-8F4A-46B5-BD78-EC75A0CECE75}">
      <dsp:nvSpPr>
        <dsp:cNvPr id="0" name=""/>
        <dsp:cNvSpPr/>
      </dsp:nvSpPr>
      <dsp:spPr>
        <a:xfrm>
          <a:off x="0" y="3028931"/>
          <a:ext cx="11138452" cy="0"/>
        </a:xfrm>
        <a:prstGeom prst="line">
          <a:avLst/>
        </a:prstGeom>
        <a:solidFill>
          <a:schemeClr val="accent3">
            <a:hueOff val="-4429782"/>
            <a:satOff val="-36905"/>
            <a:lumOff val="1912"/>
            <a:alphaOff val="0"/>
          </a:schemeClr>
        </a:solidFill>
        <a:ln w="12700" cap="flat" cmpd="sng" algn="ctr">
          <a:solidFill>
            <a:schemeClr val="accent3">
              <a:hueOff val="-4429782"/>
              <a:satOff val="-36905"/>
              <a:lumOff val="191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39C33B-3495-4882-83AE-CC20C3662958}">
      <dsp:nvSpPr>
        <dsp:cNvPr id="0" name=""/>
        <dsp:cNvSpPr/>
      </dsp:nvSpPr>
      <dsp:spPr>
        <a:xfrm>
          <a:off x="0" y="3028931"/>
          <a:ext cx="11138452" cy="11507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It takes patient about 60 seconds to tell their stories; but clinicians will interrupt or redirect patients within the first 11–23 seconds of telling their stories. </a:t>
          </a:r>
        </a:p>
      </dsp:txBody>
      <dsp:txXfrm>
        <a:off x="0" y="3028931"/>
        <a:ext cx="11138452" cy="1150739"/>
      </dsp:txXfrm>
    </dsp:sp>
    <dsp:sp modelId="{B89BC692-9684-4651-A5D3-C583967EAB23}">
      <dsp:nvSpPr>
        <dsp:cNvPr id="0" name=""/>
        <dsp:cNvSpPr/>
      </dsp:nvSpPr>
      <dsp:spPr>
        <a:xfrm>
          <a:off x="0" y="4179670"/>
          <a:ext cx="11138452"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692CA3-65EE-4DE0-9E61-0CC13AA1F2B9}">
      <dsp:nvSpPr>
        <dsp:cNvPr id="0" name=""/>
        <dsp:cNvSpPr/>
      </dsp:nvSpPr>
      <dsp:spPr>
        <a:xfrm>
          <a:off x="0" y="4179670"/>
          <a:ext cx="11138452" cy="11507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Establishing rapport with patients is essential to gaining their trust and developing good doctor-patient relationships. </a:t>
          </a:r>
        </a:p>
      </dsp:txBody>
      <dsp:txXfrm>
        <a:off x="0" y="4179670"/>
        <a:ext cx="11138452" cy="115073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890F8-06E2-4FA3-85A1-8EDA1F6DAB47}">
      <dsp:nvSpPr>
        <dsp:cNvPr id="0" name=""/>
        <dsp:cNvSpPr/>
      </dsp:nvSpPr>
      <dsp:spPr>
        <a:xfrm>
          <a:off x="0" y="428665"/>
          <a:ext cx="5321382" cy="3653999"/>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2998" tIns="604012" rIns="412998" bIns="142240" numCol="1" spcCol="1270" anchor="t" anchorCtr="0">
          <a:noAutofit/>
        </a:bodyPr>
        <a:lstStyle/>
        <a:p>
          <a:pPr marL="228600" lvl="1" indent="-228600" algn="l" defTabSz="889000">
            <a:lnSpc>
              <a:spcPct val="100000"/>
            </a:lnSpc>
            <a:spcBef>
              <a:spcPct val="0"/>
            </a:spcBef>
            <a:spcAft>
              <a:spcPts val="600"/>
            </a:spcAft>
            <a:buChar char="••"/>
          </a:pPr>
          <a:r>
            <a:rPr lang="en-US" sz="2000" kern="1200" dirty="0">
              <a:solidFill>
                <a:schemeClr val="tx2"/>
              </a:solidFill>
              <a:latin typeface="+mn-lt"/>
            </a:rPr>
            <a:t>Establish trust with their patients</a:t>
          </a:r>
        </a:p>
        <a:p>
          <a:pPr marL="228600" lvl="1" indent="-228600" algn="l" defTabSz="889000">
            <a:lnSpc>
              <a:spcPct val="100000"/>
            </a:lnSpc>
            <a:spcBef>
              <a:spcPct val="0"/>
            </a:spcBef>
            <a:spcAft>
              <a:spcPts val="600"/>
            </a:spcAft>
            <a:buChar char="••"/>
          </a:pPr>
          <a:r>
            <a:rPr lang="en-US" sz="2000" kern="1200" dirty="0">
              <a:solidFill>
                <a:schemeClr val="tx2"/>
              </a:solidFill>
              <a:latin typeface="+mn-lt"/>
            </a:rPr>
            <a:t>Take the time to clearly explain the risks and benefits</a:t>
          </a:r>
        </a:p>
        <a:p>
          <a:pPr marL="228600" lvl="1" indent="-228600" algn="l" defTabSz="889000">
            <a:lnSpc>
              <a:spcPct val="100000"/>
            </a:lnSpc>
            <a:spcBef>
              <a:spcPct val="0"/>
            </a:spcBef>
            <a:spcAft>
              <a:spcPts val="600"/>
            </a:spcAft>
            <a:buChar char="••"/>
          </a:pPr>
          <a:r>
            <a:rPr lang="en-US" sz="2000" kern="1200" dirty="0">
              <a:solidFill>
                <a:schemeClr val="tx2"/>
              </a:solidFill>
              <a:latin typeface="+mn-lt"/>
            </a:rPr>
            <a:t>Address patients’ questions and concerns before </a:t>
          </a:r>
          <a:r>
            <a:rPr lang="en-US" sz="2000" i="1" kern="1200" dirty="0">
              <a:solidFill>
                <a:schemeClr val="tx2"/>
              </a:solidFill>
              <a:latin typeface="+mn-lt"/>
            </a:rPr>
            <a:t>and</a:t>
          </a:r>
          <a:r>
            <a:rPr lang="en-US" sz="2000" kern="1200" dirty="0">
              <a:solidFill>
                <a:schemeClr val="tx2"/>
              </a:solidFill>
              <a:latin typeface="+mn-lt"/>
            </a:rPr>
            <a:t> after the procedure</a:t>
          </a:r>
        </a:p>
        <a:p>
          <a:pPr marL="228600" lvl="1" indent="-228600" algn="l" defTabSz="889000">
            <a:lnSpc>
              <a:spcPct val="100000"/>
            </a:lnSpc>
            <a:spcBef>
              <a:spcPct val="0"/>
            </a:spcBef>
            <a:spcAft>
              <a:spcPts val="600"/>
            </a:spcAft>
            <a:buChar char="••"/>
          </a:pPr>
          <a:r>
            <a:rPr lang="en-US" sz="2000" kern="1200" dirty="0">
              <a:solidFill>
                <a:schemeClr val="tx2"/>
              </a:solidFill>
              <a:latin typeface="+mn-lt"/>
            </a:rPr>
            <a:t>Acknowledge the challenges of health literacy, communication barriers, and cultural perspectives</a:t>
          </a:r>
        </a:p>
      </dsp:txBody>
      <dsp:txXfrm>
        <a:off x="0" y="428665"/>
        <a:ext cx="5321382" cy="3653999"/>
      </dsp:txXfrm>
    </dsp:sp>
    <dsp:sp modelId="{64C61A42-9B9D-4F97-843F-64DBBD7CDFA4}">
      <dsp:nvSpPr>
        <dsp:cNvPr id="0" name=""/>
        <dsp:cNvSpPr/>
      </dsp:nvSpPr>
      <dsp:spPr>
        <a:xfrm>
          <a:off x="266069" y="625"/>
          <a:ext cx="3724967" cy="8560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0795" tIns="0" rIns="140795" bIns="0" numCol="1" spcCol="1270" anchor="ctr" anchorCtr="0">
          <a:noAutofit/>
        </a:bodyPr>
        <a:lstStyle/>
        <a:p>
          <a:pPr lvl="0" algn="l" defTabSz="889000">
            <a:lnSpc>
              <a:spcPct val="90000"/>
            </a:lnSpc>
            <a:spcBef>
              <a:spcPct val="0"/>
            </a:spcBef>
            <a:spcAft>
              <a:spcPct val="35000"/>
            </a:spcAft>
          </a:pPr>
          <a:r>
            <a:rPr lang="en-US" sz="2000" kern="1200" dirty="0">
              <a:latin typeface="+mn-lt"/>
            </a:rPr>
            <a:t>To help align expectations, it is critical that surgeons:</a:t>
          </a:r>
          <a:endParaRPr lang="en-US" sz="2000" kern="1200" dirty="0"/>
        </a:p>
      </dsp:txBody>
      <dsp:txXfrm>
        <a:off x="307859" y="42415"/>
        <a:ext cx="3641387" cy="7725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1C4DA3-20AA-4AE4-8F6C-5C8644C2D7FA}">
      <dsp:nvSpPr>
        <dsp:cNvPr id="0" name=""/>
        <dsp:cNvSpPr/>
      </dsp:nvSpPr>
      <dsp:spPr>
        <a:xfrm>
          <a:off x="0" y="6295"/>
          <a:ext cx="5668211" cy="7862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a:latin typeface="+mn-lt"/>
            </a:rPr>
            <a:t>Poor communication with staff involved in patient care</a:t>
          </a:r>
          <a:endParaRPr lang="en-US" sz="2000" kern="1200" dirty="0"/>
        </a:p>
      </dsp:txBody>
      <dsp:txXfrm>
        <a:off x="38381" y="44676"/>
        <a:ext cx="5591449" cy="709478"/>
      </dsp:txXfrm>
    </dsp:sp>
    <dsp:sp modelId="{05B2AF20-4967-402F-A298-AB7990DC6377}">
      <dsp:nvSpPr>
        <dsp:cNvPr id="0" name=""/>
        <dsp:cNvSpPr/>
      </dsp:nvSpPr>
      <dsp:spPr>
        <a:xfrm>
          <a:off x="0" y="913495"/>
          <a:ext cx="5668211" cy="786240"/>
        </a:xfrm>
        <a:prstGeom prst="roundRect">
          <a:avLst/>
        </a:prstGeom>
        <a:solidFill>
          <a:schemeClr val="accent2">
            <a:hueOff val="9884"/>
            <a:satOff val="12632"/>
            <a:lumOff val="1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a:latin typeface="+mn-lt"/>
            </a:rPr>
            <a:t>Inadequate communication of pertinent clinical findings to radiologists and other providers</a:t>
          </a:r>
          <a:endParaRPr lang="en-US" altLang="en-US" sz="2000" kern="1200" dirty="0">
            <a:latin typeface="+mn-lt"/>
          </a:endParaRPr>
        </a:p>
      </dsp:txBody>
      <dsp:txXfrm>
        <a:off x="38381" y="951876"/>
        <a:ext cx="5591449" cy="709478"/>
      </dsp:txXfrm>
    </dsp:sp>
    <dsp:sp modelId="{19ACE7DD-DE79-485A-92E7-1A911AD87BF5}">
      <dsp:nvSpPr>
        <dsp:cNvPr id="0" name=""/>
        <dsp:cNvSpPr/>
      </dsp:nvSpPr>
      <dsp:spPr>
        <a:xfrm>
          <a:off x="0" y="1820695"/>
          <a:ext cx="5668211" cy="786240"/>
        </a:xfrm>
        <a:prstGeom prst="roundRect">
          <a:avLst/>
        </a:prstGeom>
        <a:solidFill>
          <a:schemeClr val="accent2">
            <a:hueOff val="19767"/>
            <a:satOff val="25263"/>
            <a:lumOff val="2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dirty="0">
              <a:latin typeface="+mn-lt"/>
            </a:rPr>
            <a:t>Lack of or delayed reporting of critical values </a:t>
          </a:r>
        </a:p>
      </dsp:txBody>
      <dsp:txXfrm>
        <a:off x="38381" y="1859076"/>
        <a:ext cx="5591449" cy="709478"/>
      </dsp:txXfrm>
    </dsp:sp>
    <dsp:sp modelId="{FC523234-9C19-4CED-A355-15DAF3EA3C26}">
      <dsp:nvSpPr>
        <dsp:cNvPr id="0" name=""/>
        <dsp:cNvSpPr/>
      </dsp:nvSpPr>
      <dsp:spPr>
        <a:xfrm>
          <a:off x="0" y="2727895"/>
          <a:ext cx="5668211" cy="786240"/>
        </a:xfrm>
        <a:prstGeom prst="roundRect">
          <a:avLst/>
        </a:prstGeom>
        <a:solidFill>
          <a:schemeClr val="accent2">
            <a:hueOff val="29651"/>
            <a:satOff val="37895"/>
            <a:lumOff val="423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a:latin typeface="+mn-lt"/>
            </a:rPr>
            <a:t>Physician/staff distractions or lack of teamwork</a:t>
          </a:r>
          <a:endParaRPr lang="en-US" altLang="en-US" sz="2000" kern="1200" dirty="0">
            <a:latin typeface="+mn-lt"/>
          </a:endParaRPr>
        </a:p>
      </dsp:txBody>
      <dsp:txXfrm>
        <a:off x="38381" y="2766276"/>
        <a:ext cx="5591449" cy="709478"/>
      </dsp:txXfrm>
    </dsp:sp>
    <dsp:sp modelId="{F9FED7CF-9205-4A76-9B19-F318527F05B6}">
      <dsp:nvSpPr>
        <dsp:cNvPr id="0" name=""/>
        <dsp:cNvSpPr/>
      </dsp:nvSpPr>
      <dsp:spPr>
        <a:xfrm>
          <a:off x="0" y="3635095"/>
          <a:ext cx="5668211" cy="786240"/>
        </a:xfrm>
        <a:prstGeom prst="roundRect">
          <a:avLst/>
        </a:prstGeom>
        <a:solidFill>
          <a:schemeClr val="accent2">
            <a:hueOff val="39535"/>
            <a:satOff val="50526"/>
            <a:lumOff val="56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a:latin typeface="+mn-lt"/>
            </a:rPr>
            <a:t>Care across multiple locations/providers</a:t>
          </a:r>
          <a:endParaRPr lang="en-US" altLang="en-US" sz="2000" kern="1200" dirty="0">
            <a:latin typeface="+mn-lt"/>
          </a:endParaRPr>
        </a:p>
      </dsp:txBody>
      <dsp:txXfrm>
        <a:off x="38381" y="3673476"/>
        <a:ext cx="5591449" cy="709478"/>
      </dsp:txXfrm>
    </dsp:sp>
    <dsp:sp modelId="{4F08A0ED-B7C5-4113-B0AB-C6240FCE6BA1}">
      <dsp:nvSpPr>
        <dsp:cNvPr id="0" name=""/>
        <dsp:cNvSpPr/>
      </dsp:nvSpPr>
      <dsp:spPr>
        <a:xfrm>
          <a:off x="0" y="4542295"/>
          <a:ext cx="5668211" cy="786240"/>
        </a:xfrm>
        <a:prstGeom prst="round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en-US" sz="2000" kern="1200">
              <a:latin typeface="+mn-lt"/>
            </a:rPr>
            <a:t>Health literacy issues</a:t>
          </a:r>
          <a:endParaRPr lang="en-US" altLang="en-US" sz="2000" kern="1200" dirty="0">
            <a:latin typeface="+mn-lt"/>
          </a:endParaRPr>
        </a:p>
      </dsp:txBody>
      <dsp:txXfrm>
        <a:off x="38381" y="4580676"/>
        <a:ext cx="5591449" cy="70947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5ED1CE-9165-4B52-8762-12C1114A7D5C}">
      <dsp:nvSpPr>
        <dsp:cNvPr id="0" name=""/>
        <dsp:cNvSpPr/>
      </dsp:nvSpPr>
      <dsp:spPr>
        <a:xfrm>
          <a:off x="3455" y="166461"/>
          <a:ext cx="3369254" cy="1347701"/>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rtl="0">
            <a:lnSpc>
              <a:spcPct val="90000"/>
            </a:lnSpc>
            <a:spcBef>
              <a:spcPct val="0"/>
            </a:spcBef>
            <a:spcAft>
              <a:spcPct val="35000"/>
            </a:spcAft>
          </a:pPr>
          <a:r>
            <a:rPr lang="en-US" sz="2400" kern="1200"/>
            <a:t>Appropriate</a:t>
          </a:r>
          <a:endParaRPr lang="en-US" sz="2400" kern="1200" dirty="0"/>
        </a:p>
      </dsp:txBody>
      <dsp:txXfrm>
        <a:off x="3455" y="166461"/>
        <a:ext cx="3369254" cy="1347701"/>
      </dsp:txXfrm>
    </dsp:sp>
    <dsp:sp modelId="{C1DBF88B-1F22-4879-A2C0-3AB617FB727C}">
      <dsp:nvSpPr>
        <dsp:cNvPr id="0" name=""/>
        <dsp:cNvSpPr/>
      </dsp:nvSpPr>
      <dsp:spPr>
        <a:xfrm>
          <a:off x="0" y="1533432"/>
          <a:ext cx="3369254" cy="28548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rtl="0">
            <a:lnSpc>
              <a:spcPct val="100000"/>
            </a:lnSpc>
            <a:spcBef>
              <a:spcPct val="0"/>
            </a:spcBef>
            <a:spcAft>
              <a:spcPts val="1200"/>
            </a:spcAft>
            <a:buChar char="••"/>
          </a:pPr>
          <a:r>
            <a:rPr lang="en-US" sz="2400" kern="1200">
              <a:solidFill>
                <a:schemeClr val="tx2"/>
              </a:solidFill>
            </a:rPr>
            <a:t>Encourages clear communication</a:t>
          </a:r>
          <a:endParaRPr lang="en-US" sz="2400" kern="1200" dirty="0">
            <a:solidFill>
              <a:schemeClr val="tx2"/>
            </a:solidFill>
          </a:endParaRPr>
        </a:p>
        <a:p>
          <a:pPr marL="228600" lvl="1" indent="-228600" algn="l" defTabSz="1066800">
            <a:lnSpc>
              <a:spcPct val="100000"/>
            </a:lnSpc>
            <a:spcBef>
              <a:spcPct val="0"/>
            </a:spcBef>
            <a:spcAft>
              <a:spcPts val="1200"/>
            </a:spcAft>
            <a:buChar char="••"/>
          </a:pPr>
          <a:r>
            <a:rPr lang="en-US" sz="2400" kern="1200" dirty="0">
              <a:solidFill>
                <a:schemeClr val="tx2"/>
              </a:solidFill>
            </a:rPr>
            <a:t>Is part of team problem-solving</a:t>
          </a:r>
        </a:p>
        <a:p>
          <a:pPr marL="228600" lvl="1" indent="-228600" algn="l" defTabSz="1066800">
            <a:lnSpc>
              <a:spcPct val="100000"/>
            </a:lnSpc>
            <a:spcBef>
              <a:spcPct val="0"/>
            </a:spcBef>
            <a:spcAft>
              <a:spcPts val="600"/>
            </a:spcAft>
            <a:buChar char="••"/>
          </a:pPr>
          <a:r>
            <a:rPr lang="en-US" sz="2400" kern="1200" dirty="0">
              <a:solidFill>
                <a:schemeClr val="tx2"/>
              </a:solidFill>
            </a:rPr>
            <a:t>Offers respectful and constructive criticism</a:t>
          </a:r>
        </a:p>
      </dsp:txBody>
      <dsp:txXfrm>
        <a:off x="0" y="1533432"/>
        <a:ext cx="3369254" cy="2854800"/>
      </dsp:txXfrm>
    </dsp:sp>
    <dsp:sp modelId="{74AB202D-FBA3-4811-B8CE-DB932B32FF56}">
      <dsp:nvSpPr>
        <dsp:cNvPr id="0" name=""/>
        <dsp:cNvSpPr/>
      </dsp:nvSpPr>
      <dsp:spPr>
        <a:xfrm>
          <a:off x="3844405" y="166461"/>
          <a:ext cx="3369254" cy="1347701"/>
        </a:xfrm>
        <a:prstGeom prst="rect">
          <a:avLst/>
        </a:prstGeom>
        <a:solidFill>
          <a:schemeClr val="accent2">
            <a:hueOff val="24709"/>
            <a:satOff val="31579"/>
            <a:lumOff val="3530"/>
            <a:alphaOff val="0"/>
          </a:schemeClr>
        </a:solidFill>
        <a:ln w="12700" cap="flat" cmpd="sng" algn="ctr">
          <a:solidFill>
            <a:schemeClr val="accent2">
              <a:hueOff val="24709"/>
              <a:satOff val="31579"/>
              <a:lumOff val="353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rtl="0">
            <a:lnSpc>
              <a:spcPct val="90000"/>
            </a:lnSpc>
            <a:spcBef>
              <a:spcPct val="0"/>
            </a:spcBef>
            <a:spcAft>
              <a:spcPct val="35000"/>
            </a:spcAft>
          </a:pPr>
          <a:r>
            <a:rPr lang="en-US" sz="2400" kern="1200"/>
            <a:t>Inappropriate</a:t>
          </a:r>
          <a:endParaRPr lang="en-US" sz="2400" kern="1200" dirty="0"/>
        </a:p>
      </dsp:txBody>
      <dsp:txXfrm>
        <a:off x="3844405" y="166461"/>
        <a:ext cx="3369254" cy="1347701"/>
      </dsp:txXfrm>
    </dsp:sp>
    <dsp:sp modelId="{13BD6FE0-A9EF-4E5F-8EE1-2A20ADE04DB3}">
      <dsp:nvSpPr>
        <dsp:cNvPr id="0" name=""/>
        <dsp:cNvSpPr/>
      </dsp:nvSpPr>
      <dsp:spPr>
        <a:xfrm>
          <a:off x="3844405" y="1514162"/>
          <a:ext cx="3369254" cy="2854800"/>
        </a:xfrm>
        <a:prstGeom prst="rect">
          <a:avLst/>
        </a:prstGeom>
        <a:solidFill>
          <a:schemeClr val="accent2">
            <a:tint val="40000"/>
            <a:alpha val="90000"/>
            <a:hueOff val="249775"/>
            <a:satOff val="35463"/>
            <a:lumOff val="2804"/>
            <a:alphaOff val="0"/>
          </a:schemeClr>
        </a:solidFill>
        <a:ln w="12700" cap="flat" cmpd="sng" algn="ctr">
          <a:solidFill>
            <a:schemeClr val="accent2">
              <a:tint val="40000"/>
              <a:alpha val="90000"/>
              <a:hueOff val="249775"/>
              <a:satOff val="35463"/>
              <a:lumOff val="28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rtl="0">
            <a:lnSpc>
              <a:spcPct val="100000"/>
            </a:lnSpc>
            <a:spcBef>
              <a:spcPct val="0"/>
            </a:spcBef>
            <a:spcAft>
              <a:spcPts val="1200"/>
            </a:spcAft>
            <a:buChar char="••"/>
          </a:pPr>
          <a:r>
            <a:rPr lang="en-US" sz="2400" kern="1200" dirty="0">
              <a:solidFill>
                <a:schemeClr val="tx2"/>
              </a:solidFill>
            </a:rPr>
            <a:t>Belittles or berates others</a:t>
          </a:r>
        </a:p>
        <a:p>
          <a:pPr marL="228600" lvl="1" indent="-228600" algn="l" defTabSz="1066800">
            <a:lnSpc>
              <a:spcPct val="100000"/>
            </a:lnSpc>
            <a:spcBef>
              <a:spcPct val="0"/>
            </a:spcBef>
            <a:spcAft>
              <a:spcPts val="1200"/>
            </a:spcAft>
            <a:buChar char="••"/>
          </a:pPr>
          <a:r>
            <a:rPr lang="en-US" sz="2400" kern="1200" dirty="0">
              <a:solidFill>
                <a:schemeClr val="tx2"/>
              </a:solidFill>
            </a:rPr>
            <a:t>Makes inappropriate comments to staff</a:t>
          </a:r>
        </a:p>
        <a:p>
          <a:pPr marL="228600" lvl="1" indent="-228600" algn="l" defTabSz="1066800">
            <a:lnSpc>
              <a:spcPct val="100000"/>
            </a:lnSpc>
            <a:spcBef>
              <a:spcPct val="0"/>
            </a:spcBef>
            <a:spcAft>
              <a:spcPts val="600"/>
            </a:spcAft>
            <a:buChar char="••"/>
          </a:pPr>
          <a:r>
            <a:rPr lang="en-US" sz="2400" kern="1200" dirty="0">
              <a:solidFill>
                <a:schemeClr val="tx2"/>
              </a:solidFill>
            </a:rPr>
            <a:t>Refuses to communicate</a:t>
          </a:r>
        </a:p>
      </dsp:txBody>
      <dsp:txXfrm>
        <a:off x="3844405" y="1514162"/>
        <a:ext cx="3369254" cy="2854800"/>
      </dsp:txXfrm>
    </dsp:sp>
    <dsp:sp modelId="{9D80A9D4-BEA7-43E1-8F74-4034DD407FD7}">
      <dsp:nvSpPr>
        <dsp:cNvPr id="0" name=""/>
        <dsp:cNvSpPr/>
      </dsp:nvSpPr>
      <dsp:spPr>
        <a:xfrm>
          <a:off x="7685355" y="166461"/>
          <a:ext cx="3369254" cy="1347701"/>
        </a:xfrm>
        <a:prstGeom prst="rect">
          <a:avLst/>
        </a:prstGeom>
        <a:solidFill>
          <a:schemeClr val="accent2">
            <a:hueOff val="49418"/>
            <a:satOff val="63158"/>
            <a:lumOff val="7059"/>
            <a:alphaOff val="0"/>
          </a:schemeClr>
        </a:solidFill>
        <a:ln w="12700" cap="flat" cmpd="sng" algn="ctr">
          <a:solidFill>
            <a:schemeClr val="accent2">
              <a:hueOff val="49418"/>
              <a:satOff val="63158"/>
              <a:lumOff val="70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rtl="0">
            <a:lnSpc>
              <a:spcPct val="90000"/>
            </a:lnSpc>
            <a:spcBef>
              <a:spcPct val="0"/>
            </a:spcBef>
            <a:spcAft>
              <a:spcPct val="35000"/>
            </a:spcAft>
          </a:pPr>
          <a:r>
            <a:rPr lang="en-US" sz="2400" kern="1200"/>
            <a:t>Disruptive</a:t>
          </a:r>
          <a:endParaRPr lang="en-US" sz="2400" kern="1200" dirty="0"/>
        </a:p>
      </dsp:txBody>
      <dsp:txXfrm>
        <a:off x="7685355" y="166461"/>
        <a:ext cx="3369254" cy="1347701"/>
      </dsp:txXfrm>
    </dsp:sp>
    <dsp:sp modelId="{EC8EA4BF-19F7-4D2E-A8E0-1F533CD6A432}">
      <dsp:nvSpPr>
        <dsp:cNvPr id="0" name=""/>
        <dsp:cNvSpPr/>
      </dsp:nvSpPr>
      <dsp:spPr>
        <a:xfrm>
          <a:off x="7685355" y="1514162"/>
          <a:ext cx="3369254" cy="2854800"/>
        </a:xfrm>
        <a:prstGeom prst="rect">
          <a:avLst/>
        </a:prstGeom>
        <a:solidFill>
          <a:schemeClr val="accent2">
            <a:tint val="40000"/>
            <a:alpha val="90000"/>
            <a:hueOff val="499550"/>
            <a:satOff val="70926"/>
            <a:lumOff val="5608"/>
            <a:alphaOff val="0"/>
          </a:schemeClr>
        </a:solidFill>
        <a:ln w="12700" cap="flat" cmpd="sng" algn="ctr">
          <a:solidFill>
            <a:schemeClr val="accent2">
              <a:tint val="40000"/>
              <a:alpha val="90000"/>
              <a:hueOff val="499550"/>
              <a:satOff val="70926"/>
              <a:lumOff val="56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rtl="0">
            <a:lnSpc>
              <a:spcPct val="100000"/>
            </a:lnSpc>
            <a:spcBef>
              <a:spcPct val="0"/>
            </a:spcBef>
            <a:spcAft>
              <a:spcPts val="1200"/>
            </a:spcAft>
            <a:buChar char="••"/>
          </a:pPr>
          <a:r>
            <a:rPr lang="en-US" sz="2400" kern="1200" dirty="0">
              <a:solidFill>
                <a:schemeClr val="tx2"/>
              </a:solidFill>
            </a:rPr>
            <a:t>Threats of violence or retribution</a:t>
          </a:r>
        </a:p>
        <a:p>
          <a:pPr marL="228600" lvl="1" indent="-228600" algn="l" defTabSz="1066800" rtl="0">
            <a:lnSpc>
              <a:spcPct val="100000"/>
            </a:lnSpc>
            <a:spcBef>
              <a:spcPct val="0"/>
            </a:spcBef>
            <a:spcAft>
              <a:spcPts val="1200"/>
            </a:spcAft>
            <a:buChar char="••"/>
          </a:pPr>
          <a:r>
            <a:rPr lang="en-US" sz="2400" kern="1200" dirty="0">
              <a:solidFill>
                <a:schemeClr val="tx2"/>
              </a:solidFill>
            </a:rPr>
            <a:t>Physical contact that is threatening or intimidating</a:t>
          </a:r>
        </a:p>
        <a:p>
          <a:pPr marL="228600" lvl="1" indent="-228600" algn="l" defTabSz="1066800" rtl="0">
            <a:lnSpc>
              <a:spcPct val="100000"/>
            </a:lnSpc>
            <a:spcBef>
              <a:spcPct val="0"/>
            </a:spcBef>
            <a:spcAft>
              <a:spcPts val="1200"/>
            </a:spcAft>
            <a:buChar char="••"/>
          </a:pPr>
          <a:r>
            <a:rPr lang="en-US" sz="2400" kern="1200" dirty="0">
              <a:solidFill>
                <a:schemeClr val="tx2"/>
              </a:solidFill>
            </a:rPr>
            <a:t>Sexual harassment</a:t>
          </a:r>
        </a:p>
      </dsp:txBody>
      <dsp:txXfrm>
        <a:off x="7685355" y="1514162"/>
        <a:ext cx="3369254" cy="28548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5ED1CE-9165-4B52-8762-12C1114A7D5C}">
      <dsp:nvSpPr>
        <dsp:cNvPr id="0" name=""/>
        <dsp:cNvSpPr/>
      </dsp:nvSpPr>
      <dsp:spPr>
        <a:xfrm>
          <a:off x="3508" y="15962"/>
          <a:ext cx="3420650" cy="1209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90000"/>
            </a:lnSpc>
            <a:spcBef>
              <a:spcPct val="0"/>
            </a:spcBef>
            <a:spcAft>
              <a:spcPct val="35000"/>
            </a:spcAft>
          </a:pPr>
          <a:r>
            <a:rPr lang="en-US" sz="2000" b="1" kern="1200" dirty="0"/>
            <a:t>Passive</a:t>
          </a:r>
        </a:p>
      </dsp:txBody>
      <dsp:txXfrm>
        <a:off x="3508" y="15962"/>
        <a:ext cx="3420650" cy="1209600"/>
      </dsp:txXfrm>
    </dsp:sp>
    <dsp:sp modelId="{C1DBF88B-1F22-4879-A2C0-3AB617FB727C}">
      <dsp:nvSpPr>
        <dsp:cNvPr id="0" name=""/>
        <dsp:cNvSpPr/>
      </dsp:nvSpPr>
      <dsp:spPr>
        <a:xfrm>
          <a:off x="3508" y="1225563"/>
          <a:ext cx="3420650" cy="3285765"/>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ts val="1200"/>
            </a:spcAft>
            <a:buChar char="••"/>
          </a:pPr>
          <a:r>
            <a:rPr lang="en-US" sz="2000" kern="1200">
              <a:solidFill>
                <a:schemeClr val="tx2"/>
              </a:solidFill>
            </a:rPr>
            <a:t>Incomplete charting</a:t>
          </a:r>
          <a:endParaRPr lang="en-US" sz="2000" kern="1200" dirty="0">
            <a:solidFill>
              <a:schemeClr val="tx2"/>
            </a:solidFill>
          </a:endParaRPr>
        </a:p>
        <a:p>
          <a:pPr marL="228600" lvl="1" indent="-228600" algn="l" defTabSz="889000" rtl="0">
            <a:lnSpc>
              <a:spcPct val="90000"/>
            </a:lnSpc>
            <a:spcBef>
              <a:spcPct val="0"/>
            </a:spcBef>
            <a:spcAft>
              <a:spcPts val="1200"/>
            </a:spcAft>
            <a:buChar char="••"/>
          </a:pPr>
          <a:r>
            <a:rPr lang="en-US" sz="2000" kern="1200" dirty="0">
              <a:solidFill>
                <a:schemeClr val="tx2"/>
              </a:solidFill>
            </a:rPr>
            <a:t>Avoidance</a:t>
          </a:r>
        </a:p>
        <a:p>
          <a:pPr marL="228600" lvl="1" indent="-228600" algn="l" defTabSz="889000" rtl="0">
            <a:lnSpc>
              <a:spcPct val="90000"/>
            </a:lnSpc>
            <a:spcBef>
              <a:spcPct val="0"/>
            </a:spcBef>
            <a:spcAft>
              <a:spcPts val="1200"/>
            </a:spcAft>
            <a:buChar char="••"/>
          </a:pPr>
          <a:r>
            <a:rPr lang="en-US" sz="2000" kern="1200" dirty="0">
              <a:solidFill>
                <a:schemeClr val="tx2"/>
              </a:solidFill>
            </a:rPr>
            <a:t>Failure to answer </a:t>
          </a:r>
          <a:br>
            <a:rPr lang="en-US" sz="2000" kern="1200" dirty="0">
              <a:solidFill>
                <a:schemeClr val="tx2"/>
              </a:solidFill>
            </a:rPr>
          </a:br>
          <a:r>
            <a:rPr lang="en-US" sz="2000" kern="1200" dirty="0">
              <a:solidFill>
                <a:schemeClr val="tx2"/>
              </a:solidFill>
            </a:rPr>
            <a:t>calls</a:t>
          </a:r>
        </a:p>
        <a:p>
          <a:pPr marL="228600" lvl="1" indent="-228600" algn="l" defTabSz="889000" rtl="0">
            <a:lnSpc>
              <a:spcPct val="90000"/>
            </a:lnSpc>
            <a:spcBef>
              <a:spcPct val="0"/>
            </a:spcBef>
            <a:spcAft>
              <a:spcPts val="1200"/>
            </a:spcAft>
            <a:buChar char="••"/>
          </a:pPr>
          <a:r>
            <a:rPr lang="en-US" sz="2000" kern="1200" dirty="0">
              <a:solidFill>
                <a:schemeClr val="tx2"/>
              </a:solidFill>
            </a:rPr>
            <a:t>Frequent absences</a:t>
          </a:r>
        </a:p>
        <a:p>
          <a:pPr marL="228600" lvl="1" indent="-228600" algn="l" defTabSz="889000" rtl="0">
            <a:lnSpc>
              <a:spcPct val="90000"/>
            </a:lnSpc>
            <a:spcBef>
              <a:spcPct val="0"/>
            </a:spcBef>
            <a:spcAft>
              <a:spcPts val="1200"/>
            </a:spcAft>
            <a:buChar char="••"/>
          </a:pPr>
          <a:r>
            <a:rPr lang="en-US" sz="2000" kern="1200" dirty="0">
              <a:solidFill>
                <a:schemeClr val="tx2"/>
              </a:solidFill>
            </a:rPr>
            <a:t>Chronic tardiness</a:t>
          </a:r>
        </a:p>
        <a:p>
          <a:pPr marL="228600" lvl="1" indent="-228600" algn="l" defTabSz="889000" rtl="0">
            <a:lnSpc>
              <a:spcPct val="90000"/>
            </a:lnSpc>
            <a:spcBef>
              <a:spcPct val="0"/>
            </a:spcBef>
            <a:spcAft>
              <a:spcPts val="1200"/>
            </a:spcAft>
            <a:buChar char="••"/>
          </a:pPr>
          <a:r>
            <a:rPr lang="en-US" sz="2000" kern="1200" dirty="0">
              <a:solidFill>
                <a:schemeClr val="tx2"/>
              </a:solidFill>
            </a:rPr>
            <a:t>Getting behind</a:t>
          </a:r>
        </a:p>
        <a:p>
          <a:pPr marL="228600" lvl="1" indent="-228600" algn="l" defTabSz="889000" rtl="0">
            <a:lnSpc>
              <a:spcPct val="90000"/>
            </a:lnSpc>
            <a:spcBef>
              <a:spcPct val="0"/>
            </a:spcBef>
            <a:spcAft>
              <a:spcPts val="600"/>
            </a:spcAft>
            <a:buChar char="••"/>
          </a:pPr>
          <a:r>
            <a:rPr lang="en-US" sz="2000" kern="1200" dirty="0">
              <a:solidFill>
                <a:schemeClr val="tx2"/>
              </a:solidFill>
            </a:rPr>
            <a:t>Refusing to help</a:t>
          </a:r>
        </a:p>
      </dsp:txBody>
      <dsp:txXfrm>
        <a:off x="3508" y="1225563"/>
        <a:ext cx="3420650" cy="3285765"/>
      </dsp:txXfrm>
    </dsp:sp>
    <dsp:sp modelId="{74AB202D-FBA3-4811-B8CE-DB932B32FF56}">
      <dsp:nvSpPr>
        <dsp:cNvPr id="0" name=""/>
        <dsp:cNvSpPr/>
      </dsp:nvSpPr>
      <dsp:spPr>
        <a:xfrm>
          <a:off x="3903050" y="15962"/>
          <a:ext cx="3420650" cy="1209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90000"/>
            </a:lnSpc>
            <a:spcBef>
              <a:spcPct val="0"/>
            </a:spcBef>
            <a:spcAft>
              <a:spcPct val="35000"/>
            </a:spcAft>
          </a:pPr>
          <a:r>
            <a:rPr lang="en-US" sz="2000" b="1" kern="1200" dirty="0"/>
            <a:t>Passive aggressive</a:t>
          </a:r>
        </a:p>
      </dsp:txBody>
      <dsp:txXfrm>
        <a:off x="3903050" y="15962"/>
        <a:ext cx="3420650" cy="1209600"/>
      </dsp:txXfrm>
    </dsp:sp>
    <dsp:sp modelId="{13BD6FE0-A9EF-4E5F-8EE1-2A20ADE04DB3}">
      <dsp:nvSpPr>
        <dsp:cNvPr id="0" name=""/>
        <dsp:cNvSpPr/>
      </dsp:nvSpPr>
      <dsp:spPr>
        <a:xfrm>
          <a:off x="3903050" y="1225563"/>
          <a:ext cx="3420650" cy="3285765"/>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ts val="1200"/>
            </a:spcAft>
            <a:buChar char="••"/>
          </a:pPr>
          <a:r>
            <a:rPr lang="en-US" sz="2000" kern="1200" dirty="0">
              <a:solidFill>
                <a:schemeClr val="tx2"/>
              </a:solidFill>
            </a:rPr>
            <a:t>Excessive sarcasm </a:t>
          </a:r>
        </a:p>
        <a:p>
          <a:pPr marL="228600" lvl="1" indent="-228600" algn="l" defTabSz="889000" rtl="0">
            <a:lnSpc>
              <a:spcPct val="90000"/>
            </a:lnSpc>
            <a:spcBef>
              <a:spcPct val="0"/>
            </a:spcBef>
            <a:spcAft>
              <a:spcPts val="1200"/>
            </a:spcAft>
            <a:buChar char="••"/>
          </a:pPr>
          <a:r>
            <a:rPr lang="en-US" sz="2000" kern="1200" dirty="0">
              <a:solidFill>
                <a:schemeClr val="tx2"/>
              </a:solidFill>
            </a:rPr>
            <a:t>Implied threats</a:t>
          </a:r>
        </a:p>
        <a:p>
          <a:pPr marL="228600" lvl="1" indent="-228600" algn="l" defTabSz="889000" rtl="0">
            <a:lnSpc>
              <a:spcPct val="90000"/>
            </a:lnSpc>
            <a:spcBef>
              <a:spcPct val="0"/>
            </a:spcBef>
            <a:spcAft>
              <a:spcPts val="1200"/>
            </a:spcAft>
            <a:buChar char="••"/>
          </a:pPr>
          <a:r>
            <a:rPr lang="en-US" sz="2000" kern="1200" dirty="0">
              <a:solidFill>
                <a:schemeClr val="tx2"/>
              </a:solidFill>
            </a:rPr>
            <a:t>Inappropriate jokes</a:t>
          </a:r>
        </a:p>
        <a:p>
          <a:pPr marL="228600" lvl="1" indent="-228600" algn="l" defTabSz="889000" rtl="0">
            <a:lnSpc>
              <a:spcPct val="90000"/>
            </a:lnSpc>
            <a:spcBef>
              <a:spcPct val="0"/>
            </a:spcBef>
            <a:spcAft>
              <a:spcPts val="1200"/>
            </a:spcAft>
            <a:buChar char="••"/>
          </a:pPr>
          <a:r>
            <a:rPr lang="en-US" sz="2000" kern="1200" dirty="0">
              <a:solidFill>
                <a:schemeClr val="tx2"/>
              </a:solidFill>
            </a:rPr>
            <a:t>Refusal to complete tasks</a:t>
          </a:r>
        </a:p>
        <a:p>
          <a:pPr marL="228600" lvl="1" indent="-228600" algn="l" defTabSz="889000" rtl="0">
            <a:lnSpc>
              <a:spcPct val="90000"/>
            </a:lnSpc>
            <a:spcBef>
              <a:spcPct val="0"/>
            </a:spcBef>
            <a:spcAft>
              <a:spcPts val="600"/>
            </a:spcAft>
            <a:buChar char="••"/>
          </a:pPr>
          <a:r>
            <a:rPr lang="en-US" sz="2000" kern="1200" dirty="0">
              <a:solidFill>
                <a:schemeClr val="tx2"/>
              </a:solidFill>
            </a:rPr>
            <a:t>Condescending</a:t>
          </a:r>
          <a:br>
            <a:rPr lang="en-US" sz="2000" kern="1200" dirty="0">
              <a:solidFill>
                <a:schemeClr val="tx2"/>
              </a:solidFill>
            </a:rPr>
          </a:br>
          <a:r>
            <a:rPr lang="en-US" sz="2000" kern="1200" dirty="0">
              <a:solidFill>
                <a:schemeClr val="tx2"/>
              </a:solidFill>
            </a:rPr>
            <a:t>language/tone</a:t>
          </a:r>
        </a:p>
      </dsp:txBody>
      <dsp:txXfrm>
        <a:off x="3903050" y="1225563"/>
        <a:ext cx="3420650" cy="3285765"/>
      </dsp:txXfrm>
    </dsp:sp>
    <dsp:sp modelId="{9D80A9D4-BEA7-43E1-8F74-4034DD407FD7}">
      <dsp:nvSpPr>
        <dsp:cNvPr id="0" name=""/>
        <dsp:cNvSpPr/>
      </dsp:nvSpPr>
      <dsp:spPr>
        <a:xfrm>
          <a:off x="7802591" y="15962"/>
          <a:ext cx="3420650" cy="1209600"/>
        </a:xfrm>
        <a:prstGeom prst="rect">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rtl="0">
            <a:lnSpc>
              <a:spcPct val="90000"/>
            </a:lnSpc>
            <a:spcBef>
              <a:spcPct val="0"/>
            </a:spcBef>
            <a:spcAft>
              <a:spcPct val="35000"/>
            </a:spcAft>
          </a:pPr>
          <a:r>
            <a:rPr lang="en-US" sz="2000" b="1" kern="1200" dirty="0"/>
            <a:t>Aggressive</a:t>
          </a:r>
        </a:p>
      </dsp:txBody>
      <dsp:txXfrm>
        <a:off x="7802591" y="15962"/>
        <a:ext cx="3420650" cy="1209600"/>
      </dsp:txXfrm>
    </dsp:sp>
    <dsp:sp modelId="{EC8EA4BF-19F7-4D2E-A8E0-1F533CD6A432}">
      <dsp:nvSpPr>
        <dsp:cNvPr id="0" name=""/>
        <dsp:cNvSpPr/>
      </dsp:nvSpPr>
      <dsp:spPr>
        <a:xfrm>
          <a:off x="7802591" y="1225563"/>
          <a:ext cx="3420650" cy="3285765"/>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ts val="1200"/>
            </a:spcAft>
            <a:buChar char="••"/>
          </a:pPr>
          <a:r>
            <a:rPr lang="en-US" sz="2000" kern="1200" dirty="0">
              <a:solidFill>
                <a:schemeClr val="tx2"/>
              </a:solidFill>
            </a:rPr>
            <a:t>Angry outbursts</a:t>
          </a:r>
        </a:p>
        <a:p>
          <a:pPr marL="228600" lvl="1" indent="-228600" algn="l" defTabSz="889000" rtl="0">
            <a:lnSpc>
              <a:spcPct val="90000"/>
            </a:lnSpc>
            <a:spcBef>
              <a:spcPct val="0"/>
            </a:spcBef>
            <a:spcAft>
              <a:spcPts val="1200"/>
            </a:spcAft>
            <a:buChar char="••"/>
          </a:pPr>
          <a:r>
            <a:rPr lang="en-US" sz="2000" kern="1200" dirty="0">
              <a:solidFill>
                <a:schemeClr val="tx2"/>
              </a:solidFill>
            </a:rPr>
            <a:t>Raised voice</a:t>
          </a:r>
        </a:p>
        <a:p>
          <a:pPr marL="228600" lvl="1" indent="-228600" algn="l" defTabSz="889000" rtl="0">
            <a:lnSpc>
              <a:spcPct val="90000"/>
            </a:lnSpc>
            <a:spcBef>
              <a:spcPct val="0"/>
            </a:spcBef>
            <a:spcAft>
              <a:spcPts val="1200"/>
            </a:spcAft>
            <a:buChar char="••"/>
          </a:pPr>
          <a:r>
            <a:rPr lang="en-US" sz="2000" kern="1200">
              <a:solidFill>
                <a:schemeClr val="tx2"/>
              </a:solidFill>
            </a:rPr>
            <a:t>Demeaning </a:t>
          </a:r>
          <a:endParaRPr lang="en-US" sz="2000" kern="1200" dirty="0">
            <a:solidFill>
              <a:schemeClr val="tx2"/>
            </a:solidFill>
          </a:endParaRPr>
        </a:p>
        <a:p>
          <a:pPr marL="228600" lvl="1" indent="-228600" algn="l" defTabSz="889000" rtl="0">
            <a:lnSpc>
              <a:spcPct val="90000"/>
            </a:lnSpc>
            <a:spcBef>
              <a:spcPct val="0"/>
            </a:spcBef>
            <a:spcAft>
              <a:spcPts val="1200"/>
            </a:spcAft>
            <a:buChar char="••"/>
          </a:pPr>
          <a:r>
            <a:rPr lang="en-US" sz="2000" kern="1200" dirty="0">
              <a:solidFill>
                <a:schemeClr val="tx2"/>
              </a:solidFill>
            </a:rPr>
            <a:t>Intimidation</a:t>
          </a:r>
        </a:p>
        <a:p>
          <a:pPr marL="228600" lvl="1" indent="-228600" algn="l" defTabSz="889000" rtl="0">
            <a:lnSpc>
              <a:spcPct val="90000"/>
            </a:lnSpc>
            <a:spcBef>
              <a:spcPct val="0"/>
            </a:spcBef>
            <a:spcAft>
              <a:spcPts val="1200"/>
            </a:spcAft>
            <a:buChar char="••"/>
          </a:pPr>
          <a:r>
            <a:rPr lang="en-US" sz="2000" kern="1200">
              <a:solidFill>
                <a:schemeClr val="tx2"/>
              </a:solidFill>
            </a:rPr>
            <a:t>Public criticism</a:t>
          </a:r>
          <a:endParaRPr lang="en-US" sz="2000" kern="1200" dirty="0">
            <a:solidFill>
              <a:schemeClr val="tx2"/>
            </a:solidFill>
          </a:endParaRPr>
        </a:p>
        <a:p>
          <a:pPr marL="228600" lvl="1" indent="-228600" algn="l" defTabSz="889000" rtl="0">
            <a:lnSpc>
              <a:spcPct val="90000"/>
            </a:lnSpc>
            <a:spcBef>
              <a:spcPct val="0"/>
            </a:spcBef>
            <a:spcAft>
              <a:spcPts val="1200"/>
            </a:spcAft>
            <a:buChar char="••"/>
          </a:pPr>
          <a:r>
            <a:rPr lang="en-US" sz="2000" kern="1200" dirty="0">
              <a:solidFill>
                <a:schemeClr val="tx2"/>
              </a:solidFill>
            </a:rPr>
            <a:t>Physical aggression</a:t>
          </a:r>
        </a:p>
        <a:p>
          <a:pPr marL="228600" lvl="1" indent="-228600" algn="l" defTabSz="889000" rtl="0">
            <a:lnSpc>
              <a:spcPct val="90000"/>
            </a:lnSpc>
            <a:spcBef>
              <a:spcPct val="0"/>
            </a:spcBef>
            <a:spcAft>
              <a:spcPts val="600"/>
            </a:spcAft>
            <a:buChar char="••"/>
          </a:pPr>
          <a:r>
            <a:rPr lang="en-US" sz="2000" kern="1200" dirty="0">
              <a:solidFill>
                <a:schemeClr val="tx2"/>
              </a:solidFill>
            </a:rPr>
            <a:t>Physical violence</a:t>
          </a:r>
        </a:p>
      </dsp:txBody>
      <dsp:txXfrm>
        <a:off x="7802591" y="1225563"/>
        <a:ext cx="3420650" cy="328576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5F1F29-E90E-438C-B065-8F7B4758A705}">
      <dsp:nvSpPr>
        <dsp:cNvPr id="0" name=""/>
        <dsp:cNvSpPr/>
      </dsp:nvSpPr>
      <dsp:spPr>
        <a:xfrm>
          <a:off x="0" y="16750"/>
          <a:ext cx="7199177" cy="786240"/>
        </a:xfrm>
        <a:prstGeom prst="roundRect">
          <a:avLst/>
        </a:prstGeom>
        <a:solidFill>
          <a:srgbClr val="02205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a:t>70% indicated physician disruptive behavior occurs monthly in their organizations </a:t>
          </a:r>
        </a:p>
      </dsp:txBody>
      <dsp:txXfrm>
        <a:off x="38381" y="55131"/>
        <a:ext cx="7122415" cy="709478"/>
      </dsp:txXfrm>
    </dsp:sp>
    <dsp:sp modelId="{A59986C5-6334-4328-90F9-98BDDEC8613F}">
      <dsp:nvSpPr>
        <dsp:cNvPr id="0" name=""/>
        <dsp:cNvSpPr/>
      </dsp:nvSpPr>
      <dsp:spPr>
        <a:xfrm>
          <a:off x="0" y="802990"/>
          <a:ext cx="7199177" cy="9998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574" tIns="22860" rIns="128016" bIns="22860" numCol="1" spcCol="1270" anchor="t" anchorCtr="0">
          <a:noAutofit/>
        </a:bodyPr>
        <a:lstStyle/>
        <a:p>
          <a:pPr marL="171450" lvl="1" indent="-171450" algn="l" defTabSz="800100">
            <a:lnSpc>
              <a:spcPct val="100000"/>
            </a:lnSpc>
            <a:spcBef>
              <a:spcPct val="0"/>
            </a:spcBef>
            <a:spcAft>
              <a:spcPts val="600"/>
            </a:spcAft>
            <a:buChar char="••"/>
          </a:pPr>
          <a:r>
            <a:rPr lang="en-US" sz="1800" kern="1200" dirty="0">
              <a:solidFill>
                <a:schemeClr val="tx2"/>
              </a:solidFill>
            </a:rPr>
            <a:t>59% encountered degrading comments or insults</a:t>
          </a:r>
        </a:p>
        <a:p>
          <a:pPr marL="171450" lvl="1" indent="-171450" algn="l" defTabSz="800100">
            <a:lnSpc>
              <a:spcPct val="100000"/>
            </a:lnSpc>
            <a:spcBef>
              <a:spcPct val="0"/>
            </a:spcBef>
            <a:spcAft>
              <a:spcPts val="600"/>
            </a:spcAft>
            <a:buChar char="••"/>
          </a:pPr>
          <a:r>
            <a:rPr lang="en-US" sz="1800" kern="1200" dirty="0">
              <a:solidFill>
                <a:schemeClr val="tx2"/>
              </a:solidFill>
            </a:rPr>
            <a:t>55% encountered failure to follow established protocols</a:t>
          </a:r>
        </a:p>
        <a:p>
          <a:pPr marL="171450" lvl="1" indent="-171450" algn="l" defTabSz="800100">
            <a:lnSpc>
              <a:spcPct val="100000"/>
            </a:lnSpc>
            <a:spcBef>
              <a:spcPct val="0"/>
            </a:spcBef>
            <a:spcAft>
              <a:spcPts val="600"/>
            </a:spcAft>
            <a:buChar char="••"/>
          </a:pPr>
          <a:r>
            <a:rPr lang="en-US" sz="1800" kern="1200" dirty="0">
              <a:solidFill>
                <a:schemeClr val="tx2"/>
              </a:solidFill>
            </a:rPr>
            <a:t>54% encountered refusal to cooperate</a:t>
          </a:r>
        </a:p>
      </dsp:txBody>
      <dsp:txXfrm>
        <a:off x="0" y="802990"/>
        <a:ext cx="7199177" cy="999809"/>
      </dsp:txXfrm>
    </dsp:sp>
    <dsp:sp modelId="{87F1BE67-8D4D-42E2-B366-076D930D3FF6}">
      <dsp:nvSpPr>
        <dsp:cNvPr id="0" name=""/>
        <dsp:cNvSpPr/>
      </dsp:nvSpPr>
      <dsp:spPr>
        <a:xfrm>
          <a:off x="0" y="1802800"/>
          <a:ext cx="7199177" cy="786240"/>
        </a:xfrm>
        <a:prstGeom prst="roundRect">
          <a:avLst/>
        </a:prstGeom>
        <a:solidFill>
          <a:srgbClr val="005E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a:t>26% engaged in disruptive behavior at least one time; two most common contributors were workload and learned behaviors</a:t>
          </a:r>
          <a:endParaRPr lang="en-US" sz="1800" kern="1200" dirty="0"/>
        </a:p>
      </dsp:txBody>
      <dsp:txXfrm>
        <a:off x="38381" y="1841181"/>
        <a:ext cx="7122415" cy="709478"/>
      </dsp:txXfrm>
    </dsp:sp>
    <dsp:sp modelId="{3B6345D2-2187-406D-9FF8-C9A845D752E6}">
      <dsp:nvSpPr>
        <dsp:cNvPr id="0" name=""/>
        <dsp:cNvSpPr/>
      </dsp:nvSpPr>
      <dsp:spPr>
        <a:xfrm>
          <a:off x="0" y="2710000"/>
          <a:ext cx="7199177" cy="786240"/>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a:t>50% have seen patients change physicians or leave the practice</a:t>
          </a:r>
          <a:endParaRPr lang="en-US" sz="1800" kern="1200" dirty="0"/>
        </a:p>
      </dsp:txBody>
      <dsp:txXfrm>
        <a:off x="38381" y="2748381"/>
        <a:ext cx="7122415" cy="709478"/>
      </dsp:txXfrm>
    </dsp:sp>
    <dsp:sp modelId="{6444035B-23F5-4F5D-820E-AFF562C15C00}">
      <dsp:nvSpPr>
        <dsp:cNvPr id="0" name=""/>
        <dsp:cNvSpPr/>
      </dsp:nvSpPr>
      <dsp:spPr>
        <a:xfrm>
          <a:off x="0" y="3617201"/>
          <a:ext cx="7199177" cy="78624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a:lnSpc>
              <a:spcPct val="90000"/>
            </a:lnSpc>
            <a:spcBef>
              <a:spcPct val="0"/>
            </a:spcBef>
            <a:spcAft>
              <a:spcPct val="35000"/>
            </a:spcAft>
          </a:pPr>
          <a:r>
            <a:rPr lang="en-US" sz="1800" kern="1200" dirty="0"/>
            <a:t>90% believe disruptive behavior affects patient care (always, sometimes)</a:t>
          </a:r>
        </a:p>
      </dsp:txBody>
      <dsp:txXfrm>
        <a:off x="38381" y="3655582"/>
        <a:ext cx="7122415" cy="70947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16.png"/></Relationships>
</file>

<file path=ppt/drawings/drawing1.xml><?xml version="1.0" encoding="utf-8"?>
<c:userShapes xmlns:c="http://schemas.openxmlformats.org/drawingml/2006/chart">
  <cdr:relSizeAnchor xmlns:cdr="http://schemas.openxmlformats.org/drawingml/2006/chartDrawing">
    <cdr:from>
      <cdr:x>0</cdr:x>
      <cdr:y>0.04887</cdr:y>
    </cdr:from>
    <cdr:to>
      <cdr:x>1</cdr:x>
      <cdr:y>1</cdr:y>
    </cdr:to>
    <cdr:pic>
      <cdr:nvPicPr>
        <cdr:cNvPr id="3" name="Picture 2" descr="A graph of a bar graph&#10;&#10;Description automatically generated with medium confidence">
          <a:extLst xmlns:a="http://schemas.openxmlformats.org/drawingml/2006/main">
            <a:ext uri="{FF2B5EF4-FFF2-40B4-BE49-F238E27FC236}">
              <a16:creationId xmlns:a16="http://schemas.microsoft.com/office/drawing/2014/main" id="{DFE0D5CD-AAE6-85C4-CFB0-5A909CF01B8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0" y="203485"/>
          <a:ext cx="11306300" cy="3960084"/>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486283-7F49-4775-B215-C39BB889D5A4}"/>
              </a:ext>
            </a:extLst>
          </p:cNvPr>
          <p:cNvSpPr>
            <a:spLocks noGrp="1"/>
          </p:cNvSpPr>
          <p:nvPr>
            <p:ph type="hdr" sz="quarter"/>
          </p:nvPr>
        </p:nvSpPr>
        <p:spPr>
          <a:xfrm>
            <a:off x="0" y="0"/>
            <a:ext cx="2971800" cy="253093"/>
          </a:xfrm>
          <a:prstGeom prst="rect">
            <a:avLst/>
          </a:prstGeom>
        </p:spPr>
        <p:txBody>
          <a:bodyPr vert="horz" lIns="91440" tIns="45720" rIns="91440" bIns="45720" rtlCol="0"/>
          <a:lstStyle>
            <a:lvl1pPr algn="l">
              <a:defRPr sz="1200"/>
            </a:lvl1pPr>
          </a:lstStyle>
          <a:p>
            <a:endParaRPr lang="en-US" sz="900" dirty="0"/>
          </a:p>
        </p:txBody>
      </p:sp>
      <p:sp>
        <p:nvSpPr>
          <p:cNvPr id="3" name="Date Placeholder 2">
            <a:extLst>
              <a:ext uri="{FF2B5EF4-FFF2-40B4-BE49-F238E27FC236}">
                <a16:creationId xmlns:a16="http://schemas.microsoft.com/office/drawing/2014/main" id="{83A3154E-2908-471F-AD8A-822C565F1A55}"/>
              </a:ext>
            </a:extLst>
          </p:cNvPr>
          <p:cNvSpPr>
            <a:spLocks noGrp="1"/>
          </p:cNvSpPr>
          <p:nvPr>
            <p:ph type="dt" sz="quarter" idx="1"/>
          </p:nvPr>
        </p:nvSpPr>
        <p:spPr>
          <a:xfrm>
            <a:off x="3884613" y="0"/>
            <a:ext cx="2971800" cy="253093"/>
          </a:xfrm>
          <a:prstGeom prst="rect">
            <a:avLst/>
          </a:prstGeom>
        </p:spPr>
        <p:txBody>
          <a:bodyPr vert="horz" lIns="91440" tIns="45720" rIns="91440" bIns="45720" rtlCol="0"/>
          <a:lstStyle>
            <a:lvl1pPr algn="r">
              <a:defRPr sz="1200"/>
            </a:lvl1pPr>
          </a:lstStyle>
          <a:p>
            <a:fld id="{44E45FBC-1A76-485F-9804-7A00B1BAA837}" type="datetimeFigureOut">
              <a:rPr lang="en-US" sz="900"/>
              <a:t>8/30/2023</a:t>
            </a:fld>
            <a:endParaRPr lang="en-US" sz="900" dirty="0"/>
          </a:p>
        </p:txBody>
      </p:sp>
      <p:sp>
        <p:nvSpPr>
          <p:cNvPr id="6" name="Rectangle 5">
            <a:extLst>
              <a:ext uri="{FF2B5EF4-FFF2-40B4-BE49-F238E27FC236}">
                <a16:creationId xmlns:a16="http://schemas.microsoft.com/office/drawing/2014/main" id="{B17F67F9-0243-456D-846A-E8B0F12A6C3D}"/>
              </a:ext>
            </a:extLst>
          </p:cNvPr>
          <p:cNvSpPr/>
          <p:nvPr/>
        </p:nvSpPr>
        <p:spPr>
          <a:xfrm>
            <a:off x="0" y="8614228"/>
            <a:ext cx="6856413"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3" dirty="0"/>
          </a:p>
        </p:txBody>
      </p:sp>
      <p:sp>
        <p:nvSpPr>
          <p:cNvPr id="7" name="Footer Placeholder 5">
            <a:extLst>
              <a:ext uri="{FF2B5EF4-FFF2-40B4-BE49-F238E27FC236}">
                <a16:creationId xmlns:a16="http://schemas.microsoft.com/office/drawing/2014/main" id="{E64CE49E-A88D-4C98-90E0-F2CD59CBCE64}"/>
              </a:ext>
            </a:extLst>
          </p:cNvPr>
          <p:cNvSpPr>
            <a:spLocks noGrp="1"/>
          </p:cNvSpPr>
          <p:nvPr>
            <p:ph type="ftr" sz="quarter" idx="2"/>
          </p:nvPr>
        </p:nvSpPr>
        <p:spPr>
          <a:xfrm>
            <a:off x="1045029" y="8685213"/>
            <a:ext cx="5339441" cy="458787"/>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8" name="Slide Number Placeholder 6">
            <a:extLst>
              <a:ext uri="{FF2B5EF4-FFF2-40B4-BE49-F238E27FC236}">
                <a16:creationId xmlns:a16="http://schemas.microsoft.com/office/drawing/2014/main" id="{3313E8C8-41BB-444D-B721-B0765FFB52B4}"/>
              </a:ext>
            </a:extLst>
          </p:cNvPr>
          <p:cNvSpPr>
            <a:spLocks noGrp="1"/>
          </p:cNvSpPr>
          <p:nvPr>
            <p:ph type="sldNum" sz="quarter" idx="3"/>
          </p:nvPr>
        </p:nvSpPr>
        <p:spPr>
          <a:xfrm>
            <a:off x="6384471" y="8685213"/>
            <a:ext cx="471942" cy="458787"/>
          </a:xfrm>
          <a:prstGeom prst="rect">
            <a:avLst/>
          </a:prstGeom>
        </p:spPr>
        <p:txBody>
          <a:bodyPr vert="horz" lIns="91440" tIns="45720" rIns="91440" bIns="45720" rtlCol="0" anchor="ctr"/>
          <a:lstStyle>
            <a:lvl1pPr algn="r">
              <a:defRPr sz="1200">
                <a:solidFill>
                  <a:schemeClr val="tx2"/>
                </a:solidFill>
              </a:defRPr>
            </a:lvl1pPr>
          </a:lstStyle>
          <a:p>
            <a:fld id="{9359093C-2330-49BE-94AF-5A246B0DCEF8}" type="slidenum">
              <a:rPr lang="en-US"/>
              <a:pPr/>
              <a:t>‹#›</a:t>
            </a:fld>
            <a:endParaRPr lang="en-US" dirty="0"/>
          </a:p>
        </p:txBody>
      </p:sp>
      <p:pic>
        <p:nvPicPr>
          <p:cNvPr id="9" name="Picture 16">
            <a:extLst>
              <a:ext uri="{FF2B5EF4-FFF2-40B4-BE49-F238E27FC236}">
                <a16:creationId xmlns:a16="http://schemas.microsoft.com/office/drawing/2014/main" id="{42EA84BB-003E-4BFB-8365-D331BC4B924D}"/>
              </a:ext>
            </a:extLst>
          </p:cNvPr>
          <p:cNvPicPr>
            <a:picLocks noChangeAspect="1"/>
          </p:cNvPicPr>
          <p:nvPr/>
        </p:nvPicPr>
        <p:blipFill>
          <a:blip r:embed="rId2">
            <a:extLst>
              <a:ext uri="{96DAC541-7B7A-43D3-8B79-37D633B846F1}">
                <asvg:svgBlip xmlns:asvg="http://schemas.microsoft.com/office/drawing/2016/SVG/main" xmlns="" r:embed="rId3"/>
              </a:ext>
            </a:extLst>
          </a:blip>
          <a:srcRect/>
          <a:stretch/>
        </p:blipFill>
        <p:spPr>
          <a:xfrm>
            <a:off x="183314" y="8785688"/>
            <a:ext cx="190005" cy="190005"/>
          </a:xfrm>
          <a:prstGeom prst="rect">
            <a:avLst/>
          </a:prstGeom>
        </p:spPr>
      </p:pic>
    </p:spTree>
    <p:extLst>
      <p:ext uri="{BB962C8B-B14F-4D97-AF65-F5344CB8AC3E}">
        <p14:creationId xmlns:p14="http://schemas.microsoft.com/office/powerpoint/2010/main" val="6312557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A38D2AD-A542-4120-AF8A-3FA3B7386966}"/>
              </a:ext>
            </a:extLst>
          </p:cNvPr>
          <p:cNvSpPr/>
          <p:nvPr userDrawn="1"/>
        </p:nvSpPr>
        <p:spPr>
          <a:xfrm>
            <a:off x="0" y="8614228"/>
            <a:ext cx="6856413"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3" dirty="0"/>
          </a:p>
        </p:txBody>
      </p:sp>
      <p:sp>
        <p:nvSpPr>
          <p:cNvPr id="2" name="Header Placeholder 1"/>
          <p:cNvSpPr>
            <a:spLocks noGrp="1"/>
          </p:cNvSpPr>
          <p:nvPr>
            <p:ph type="hdr" sz="quarter"/>
          </p:nvPr>
        </p:nvSpPr>
        <p:spPr>
          <a:xfrm>
            <a:off x="0" y="0"/>
            <a:ext cx="2971800" cy="228600"/>
          </a:xfrm>
          <a:prstGeom prst="rect">
            <a:avLst/>
          </a:prstGeom>
        </p:spPr>
        <p:txBody>
          <a:bodyPr vert="horz" lIns="91440" tIns="45720" rIns="91440" bIns="45720" rtlCol="0"/>
          <a:lstStyle>
            <a:lvl1pPr algn="l">
              <a:defRPr sz="900"/>
            </a:lvl1pPr>
          </a:lstStyle>
          <a:p>
            <a:endParaRPr lang="en-US" sz="900" dirty="0"/>
          </a:p>
        </p:txBody>
      </p:sp>
      <p:sp>
        <p:nvSpPr>
          <p:cNvPr id="3" name="Date Placeholder 2"/>
          <p:cNvSpPr>
            <a:spLocks noGrp="1"/>
          </p:cNvSpPr>
          <p:nvPr>
            <p:ph type="dt" idx="1"/>
          </p:nvPr>
        </p:nvSpPr>
        <p:spPr>
          <a:xfrm>
            <a:off x="3884613" y="0"/>
            <a:ext cx="2971800" cy="228600"/>
          </a:xfrm>
          <a:prstGeom prst="rect">
            <a:avLst/>
          </a:prstGeom>
        </p:spPr>
        <p:txBody>
          <a:bodyPr vert="horz" lIns="91440" tIns="45720" rIns="91440" bIns="45720" rtlCol="0"/>
          <a:lstStyle>
            <a:lvl1pPr algn="r">
              <a:defRPr sz="900"/>
            </a:lvl1pPr>
          </a:lstStyle>
          <a:p>
            <a:fld id="{FC5059F3-5585-4074-AACE-66FADE6D996E}" type="datetimeFigureOut">
              <a:rPr lang="en-US"/>
              <a:pPr/>
              <a:t>8/30/2023</a:t>
            </a:fld>
            <a:endParaRPr lang="en-US" dirty="0"/>
          </a:p>
        </p:txBody>
      </p:sp>
      <p:sp>
        <p:nvSpPr>
          <p:cNvPr id="4" name="Slide Image Placeholder 3"/>
          <p:cNvSpPr>
            <a:spLocks noGrp="1" noRot="1" noChangeAspect="1"/>
          </p:cNvSpPr>
          <p:nvPr>
            <p:ph type="sldImg" idx="2"/>
          </p:nvPr>
        </p:nvSpPr>
        <p:spPr>
          <a:xfrm>
            <a:off x="473075" y="473529"/>
            <a:ext cx="4972050" cy="2796778"/>
          </a:xfrm>
          <a:prstGeom prst="rect">
            <a:avLst/>
          </a:prstGeom>
          <a:noFill/>
          <a:ln w="3175">
            <a:solidFill>
              <a:schemeClr val="tx2"/>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73529" y="3429000"/>
            <a:ext cx="5910940" cy="45720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45029" y="8685213"/>
            <a:ext cx="5339441" cy="458787"/>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7" name="Slide Number Placeholder 6"/>
          <p:cNvSpPr>
            <a:spLocks noGrp="1"/>
          </p:cNvSpPr>
          <p:nvPr>
            <p:ph type="sldNum" sz="quarter" idx="5"/>
          </p:nvPr>
        </p:nvSpPr>
        <p:spPr>
          <a:xfrm>
            <a:off x="6384471" y="8685213"/>
            <a:ext cx="471942" cy="458787"/>
          </a:xfrm>
          <a:prstGeom prst="rect">
            <a:avLst/>
          </a:prstGeom>
        </p:spPr>
        <p:txBody>
          <a:bodyPr vert="horz" lIns="91440" tIns="45720" rIns="91440" bIns="45720" rtlCol="0" anchor="ctr"/>
          <a:lstStyle>
            <a:lvl1pPr algn="r">
              <a:defRPr sz="1200">
                <a:solidFill>
                  <a:schemeClr val="tx2"/>
                </a:solidFill>
              </a:defRPr>
            </a:lvl1pPr>
          </a:lstStyle>
          <a:p>
            <a:fld id="{9359093C-2330-49BE-94AF-5A246B0DCEF8}" type="slidenum">
              <a:rPr lang="en-US"/>
              <a:pPr/>
              <a:t>‹#›</a:t>
            </a:fld>
            <a:endParaRPr lang="en-US" dirty="0"/>
          </a:p>
        </p:txBody>
      </p:sp>
      <p:pic>
        <p:nvPicPr>
          <p:cNvPr id="11" name="Picture 16">
            <a:extLst>
              <a:ext uri="{FF2B5EF4-FFF2-40B4-BE49-F238E27FC236}">
                <a16:creationId xmlns:a16="http://schemas.microsoft.com/office/drawing/2014/main" id="{B9127272-6F66-40A1-A6EC-425235BA0C46}"/>
              </a:ext>
            </a:extLst>
          </p:cNvPr>
          <p:cNvPicPr>
            <a:picLocks noChangeAspect="1"/>
          </p:cNvPicPr>
          <p:nvPr userDrawn="1"/>
        </p:nvPicPr>
        <p:blipFill>
          <a:blip r:embed="rId2">
            <a:extLst>
              <a:ext uri="{96DAC541-7B7A-43D3-8B79-37D633B846F1}">
                <asvg:svgBlip xmlns:asvg="http://schemas.microsoft.com/office/drawing/2016/SVG/main" xmlns="" r:embed="rId3"/>
              </a:ext>
            </a:extLst>
          </a:blip>
          <a:srcRect/>
          <a:stretch/>
        </p:blipFill>
        <p:spPr>
          <a:xfrm>
            <a:off x="183314" y="8785688"/>
            <a:ext cx="190005" cy="190005"/>
          </a:xfrm>
          <a:prstGeom prst="rect">
            <a:avLst/>
          </a:prstGeom>
        </p:spPr>
      </p:pic>
    </p:spTree>
    <p:extLst>
      <p:ext uri="{BB962C8B-B14F-4D97-AF65-F5344CB8AC3E}">
        <p14:creationId xmlns:p14="http://schemas.microsoft.com/office/powerpoint/2010/main" val="3916786237"/>
      </p:ext>
    </p:extLst>
  </p:cSld>
  <p:clrMap bg1="lt1" tx1="dk1" bg2="lt2" tx2="dk2" accent1="accent1" accent2="accent2" accent3="accent3" accent4="accent4" accent5="accent5" accent6="accent6" hlink="hlink" folHlink="folHlink"/>
  <p:notesStyle>
    <a:lvl1pPr marL="0" algn="l" defTabSz="892432" rtl="0" eaLnBrk="1" latinLnBrk="0" hangingPunct="1">
      <a:defRPr sz="1050" kern="1200">
        <a:solidFill>
          <a:schemeClr val="tx2"/>
        </a:solidFill>
        <a:latin typeface="+mn-lt"/>
        <a:ea typeface="+mn-ea"/>
        <a:cs typeface="+mn-cs"/>
      </a:defRPr>
    </a:lvl1pPr>
    <a:lvl2pPr marL="114300" indent="0" algn="l" defTabSz="892432" rtl="0" eaLnBrk="1" latinLnBrk="0" hangingPunct="1">
      <a:defRPr sz="1050" kern="1200">
        <a:solidFill>
          <a:schemeClr val="tx2"/>
        </a:solidFill>
        <a:latin typeface="+mn-lt"/>
        <a:ea typeface="+mn-ea"/>
        <a:cs typeface="+mn-cs"/>
      </a:defRPr>
    </a:lvl2pPr>
    <a:lvl3pPr marL="228600" indent="0" algn="l" defTabSz="892432" rtl="0" eaLnBrk="1" latinLnBrk="0" hangingPunct="1">
      <a:defRPr sz="1050" kern="1200">
        <a:solidFill>
          <a:schemeClr val="tx2"/>
        </a:solidFill>
        <a:latin typeface="+mn-lt"/>
        <a:ea typeface="+mn-ea"/>
        <a:cs typeface="+mn-cs"/>
      </a:defRPr>
    </a:lvl3pPr>
    <a:lvl4pPr marL="342900" indent="0" algn="l" defTabSz="892432" rtl="0" eaLnBrk="1" latinLnBrk="0" hangingPunct="1">
      <a:defRPr sz="1050" kern="1200">
        <a:solidFill>
          <a:schemeClr val="tx2"/>
        </a:solidFill>
        <a:latin typeface="+mn-lt"/>
        <a:ea typeface="+mn-ea"/>
        <a:cs typeface="+mn-cs"/>
      </a:defRPr>
    </a:lvl4pPr>
    <a:lvl5pPr marL="457200" indent="0" algn="l" defTabSz="892432" rtl="0" eaLnBrk="1" latinLnBrk="0" hangingPunct="1">
      <a:defRPr sz="1050" kern="1200">
        <a:solidFill>
          <a:schemeClr val="tx2"/>
        </a:solidFill>
        <a:latin typeface="+mn-lt"/>
        <a:ea typeface="+mn-ea"/>
        <a:cs typeface="+mn-cs"/>
      </a:defRPr>
    </a:lvl5pPr>
    <a:lvl6pPr marL="2231080" algn="l" defTabSz="892432" rtl="0" eaLnBrk="1" latinLnBrk="0" hangingPunct="1">
      <a:defRPr sz="1171" kern="1200">
        <a:solidFill>
          <a:schemeClr val="tx1"/>
        </a:solidFill>
        <a:latin typeface="+mn-lt"/>
        <a:ea typeface="+mn-ea"/>
        <a:cs typeface="+mn-cs"/>
      </a:defRPr>
    </a:lvl6pPr>
    <a:lvl7pPr marL="2677296" algn="l" defTabSz="892432" rtl="0" eaLnBrk="1" latinLnBrk="0" hangingPunct="1">
      <a:defRPr sz="1171" kern="1200">
        <a:solidFill>
          <a:schemeClr val="tx1"/>
        </a:solidFill>
        <a:latin typeface="+mn-lt"/>
        <a:ea typeface="+mn-ea"/>
        <a:cs typeface="+mn-cs"/>
      </a:defRPr>
    </a:lvl7pPr>
    <a:lvl8pPr marL="3123513" algn="l" defTabSz="892432" rtl="0" eaLnBrk="1" latinLnBrk="0" hangingPunct="1">
      <a:defRPr sz="1171" kern="1200">
        <a:solidFill>
          <a:schemeClr val="tx1"/>
        </a:solidFill>
        <a:latin typeface="+mn-lt"/>
        <a:ea typeface="+mn-ea"/>
        <a:cs typeface="+mn-cs"/>
      </a:defRPr>
    </a:lvl8pPr>
    <a:lvl9pPr marL="3569728" algn="l" defTabSz="892432" rtl="0" eaLnBrk="1" latinLnBrk="0" hangingPunct="1">
      <a:defRPr sz="1171" kern="1200">
        <a:solidFill>
          <a:schemeClr val="tx1"/>
        </a:solidFill>
        <a:latin typeface="+mn-lt"/>
        <a:ea typeface="+mn-ea"/>
        <a:cs typeface="+mn-cs"/>
      </a:defRPr>
    </a:lvl9pPr>
  </p:notesStyle>
  <p:extLst>
    <p:ext uri="{620B2872-D7B9-4A21-9093-7833F8D536E1}">
      <p15:sldGuideLst xmlns:p15="http://schemas.microsoft.com/office/powerpoint/2012/main">
        <p15:guide id="2" pos="4022" userDrawn="1">
          <p15:clr>
            <a:srgbClr val="F26B43"/>
          </p15:clr>
        </p15:guide>
        <p15:guide id="3" pos="298" userDrawn="1">
          <p15:clr>
            <a:srgbClr val="F26B43"/>
          </p15:clr>
        </p15:guide>
        <p15:guide id="4" orient="horz"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9093C-2330-49BE-94AF-5A246B0DCEF8}" type="slidenum">
              <a:rPr lang="en-US"/>
              <a:t>1</a:t>
            </a:fld>
            <a:endParaRPr lang="en-US" dirty="0"/>
          </a:p>
        </p:txBody>
      </p:sp>
    </p:spTree>
    <p:extLst>
      <p:ext uri="{BB962C8B-B14F-4D97-AF65-F5344CB8AC3E}">
        <p14:creationId xmlns:p14="http://schemas.microsoft.com/office/powerpoint/2010/main" val="26342502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pPr defTabSz="909388">
              <a:defRPr/>
            </a:pPr>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11</a:t>
            </a:fld>
            <a:endParaRPr lang="en-US" dirty="0"/>
          </a:p>
        </p:txBody>
      </p:sp>
    </p:spTree>
    <p:extLst>
      <p:ext uri="{BB962C8B-B14F-4D97-AF65-F5344CB8AC3E}">
        <p14:creationId xmlns:p14="http://schemas.microsoft.com/office/powerpoint/2010/main" val="2135535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pPr defTabSz="349415">
              <a:defRPr/>
            </a:pPr>
            <a:endParaRPr lang="en-US" sz="11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10"/>
          </p:nvPr>
        </p:nvSpPr>
        <p:spPr/>
        <p:txBody>
          <a:bodyPr/>
          <a:lstStyle/>
          <a:p>
            <a:fld id="{9359093C-2330-49BE-94AF-5A246B0DCEF8}" type="slidenum">
              <a:rPr lang="en-US"/>
              <a:pPr/>
              <a:t>12</a:t>
            </a:fld>
            <a:endParaRPr lang="en-US" dirty="0"/>
          </a:p>
        </p:txBody>
      </p:sp>
    </p:spTree>
    <p:extLst>
      <p:ext uri="{BB962C8B-B14F-4D97-AF65-F5344CB8AC3E}">
        <p14:creationId xmlns:p14="http://schemas.microsoft.com/office/powerpoint/2010/main" val="2861344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a:pPr/>
              <a:t>13</a:t>
            </a:fld>
            <a:endParaRPr lang="en-US" dirty="0"/>
          </a:p>
        </p:txBody>
      </p:sp>
    </p:spTree>
    <p:extLst>
      <p:ext uri="{BB962C8B-B14F-4D97-AF65-F5344CB8AC3E}">
        <p14:creationId xmlns:p14="http://schemas.microsoft.com/office/powerpoint/2010/main" val="686867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a:pPr/>
              <a:t>14</a:t>
            </a:fld>
            <a:endParaRPr lang="en-US" dirty="0"/>
          </a:p>
        </p:txBody>
      </p:sp>
    </p:spTree>
    <p:extLst>
      <p:ext uri="{BB962C8B-B14F-4D97-AF65-F5344CB8AC3E}">
        <p14:creationId xmlns:p14="http://schemas.microsoft.com/office/powerpoint/2010/main" val="27166106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15</a:t>
            </a:fld>
            <a:endParaRPr lang="en-US" dirty="0"/>
          </a:p>
        </p:txBody>
      </p:sp>
    </p:spTree>
    <p:extLst>
      <p:ext uri="{BB962C8B-B14F-4D97-AF65-F5344CB8AC3E}">
        <p14:creationId xmlns:p14="http://schemas.microsoft.com/office/powerpoint/2010/main" val="40372771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9359093C-2330-49BE-94AF-5A246B0DCEF8}" type="slidenum">
              <a:rPr lang="en-US"/>
              <a:pPr/>
              <a:t>16</a:t>
            </a:fld>
            <a:endParaRPr lang="en-US" dirty="0"/>
          </a:p>
        </p:txBody>
      </p:sp>
    </p:spTree>
    <p:extLst>
      <p:ext uri="{BB962C8B-B14F-4D97-AF65-F5344CB8AC3E}">
        <p14:creationId xmlns:p14="http://schemas.microsoft.com/office/powerpoint/2010/main" val="3060653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a:pPr/>
              <a:t>17</a:t>
            </a:fld>
            <a:endParaRPr lang="en-US" dirty="0"/>
          </a:p>
        </p:txBody>
      </p:sp>
    </p:spTree>
    <p:extLst>
      <p:ext uri="{BB962C8B-B14F-4D97-AF65-F5344CB8AC3E}">
        <p14:creationId xmlns:p14="http://schemas.microsoft.com/office/powerpoint/2010/main" val="39401773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pPr defTabSz="349415">
              <a:defRPr/>
            </a:pPr>
            <a:endParaRPr lang="en-US" sz="800" dirty="0"/>
          </a:p>
        </p:txBody>
      </p:sp>
      <p:sp>
        <p:nvSpPr>
          <p:cNvPr id="4" name="Slide Number Placeholder 3"/>
          <p:cNvSpPr>
            <a:spLocks noGrp="1"/>
          </p:cNvSpPr>
          <p:nvPr>
            <p:ph type="sldNum" sz="quarter" idx="10"/>
          </p:nvPr>
        </p:nvSpPr>
        <p:spPr/>
        <p:txBody>
          <a:bodyPr/>
          <a:lstStyle/>
          <a:p>
            <a:fld id="{9359093C-2330-49BE-94AF-5A246B0DCEF8}" type="slidenum">
              <a:rPr lang="en-US"/>
              <a:pPr/>
              <a:t>18</a:t>
            </a:fld>
            <a:endParaRPr lang="en-US" dirty="0"/>
          </a:p>
        </p:txBody>
      </p:sp>
    </p:spTree>
    <p:extLst>
      <p:ext uri="{BB962C8B-B14F-4D97-AF65-F5344CB8AC3E}">
        <p14:creationId xmlns:p14="http://schemas.microsoft.com/office/powerpoint/2010/main" val="26673891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sz="800" dirty="0"/>
          </a:p>
        </p:txBody>
      </p:sp>
      <p:sp>
        <p:nvSpPr>
          <p:cNvPr id="4" name="Slide Number Placeholder 3"/>
          <p:cNvSpPr>
            <a:spLocks noGrp="1"/>
          </p:cNvSpPr>
          <p:nvPr>
            <p:ph type="sldNum" sz="quarter" idx="10"/>
          </p:nvPr>
        </p:nvSpPr>
        <p:spPr/>
        <p:txBody>
          <a:bodyPr/>
          <a:lstStyle/>
          <a:p>
            <a:fld id="{9359093C-2330-49BE-94AF-5A246B0DCEF8}" type="slidenum">
              <a:rPr lang="en-US"/>
              <a:pPr/>
              <a:t>19</a:t>
            </a:fld>
            <a:endParaRPr lang="en-US" dirty="0"/>
          </a:p>
        </p:txBody>
      </p:sp>
    </p:spTree>
    <p:extLst>
      <p:ext uri="{BB962C8B-B14F-4D97-AF65-F5344CB8AC3E}">
        <p14:creationId xmlns:p14="http://schemas.microsoft.com/office/powerpoint/2010/main" val="2407213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a:pPr/>
              <a:t>20</a:t>
            </a:fld>
            <a:endParaRPr lang="en-US" dirty="0"/>
          </a:p>
        </p:txBody>
      </p:sp>
    </p:spTree>
    <p:extLst>
      <p:ext uri="{BB962C8B-B14F-4D97-AF65-F5344CB8AC3E}">
        <p14:creationId xmlns:p14="http://schemas.microsoft.com/office/powerpoint/2010/main" val="3118778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FAB324-A1C2-4255-AB71-868409CE8666}" type="slidenum">
              <a:rPr lang="en-US"/>
              <a:t>2</a:t>
            </a:fld>
            <a:endParaRPr lang="en-US" dirty="0"/>
          </a:p>
        </p:txBody>
      </p:sp>
    </p:spTree>
    <p:extLst>
      <p:ext uri="{BB962C8B-B14F-4D97-AF65-F5344CB8AC3E}">
        <p14:creationId xmlns:p14="http://schemas.microsoft.com/office/powerpoint/2010/main" val="12257938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a:pPr/>
              <a:t>21</a:t>
            </a:fld>
            <a:endParaRPr lang="en-US" dirty="0"/>
          </a:p>
        </p:txBody>
      </p:sp>
    </p:spTree>
    <p:extLst>
      <p:ext uri="{BB962C8B-B14F-4D97-AF65-F5344CB8AC3E}">
        <p14:creationId xmlns:p14="http://schemas.microsoft.com/office/powerpoint/2010/main" val="38158025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baseline="0" dirty="0"/>
          </a:p>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a:pPr/>
              <a:t>22</a:t>
            </a:fld>
            <a:endParaRPr lang="en-US" dirty="0"/>
          </a:p>
        </p:txBody>
      </p:sp>
    </p:spTree>
    <p:extLst>
      <p:ext uri="{BB962C8B-B14F-4D97-AF65-F5344CB8AC3E}">
        <p14:creationId xmlns:p14="http://schemas.microsoft.com/office/powerpoint/2010/main" val="18114470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23</a:t>
            </a:fld>
            <a:endParaRPr lang="en-US" dirty="0"/>
          </a:p>
        </p:txBody>
      </p:sp>
    </p:spTree>
    <p:extLst>
      <p:ext uri="{BB962C8B-B14F-4D97-AF65-F5344CB8AC3E}">
        <p14:creationId xmlns:p14="http://schemas.microsoft.com/office/powerpoint/2010/main" val="15391729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24</a:t>
            </a:fld>
            <a:endParaRPr lang="en-US" dirty="0"/>
          </a:p>
        </p:txBody>
      </p:sp>
    </p:spTree>
    <p:extLst>
      <p:ext uri="{BB962C8B-B14F-4D97-AF65-F5344CB8AC3E}">
        <p14:creationId xmlns:p14="http://schemas.microsoft.com/office/powerpoint/2010/main" val="28891803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sz="1100" dirty="0">
              <a:solidFill>
                <a:schemeClr val="tx1"/>
              </a:solidFill>
            </a:endParaRPr>
          </a:p>
          <a:p>
            <a:r>
              <a:rPr lang="en-US" sz="1100" dirty="0">
                <a:solidFill>
                  <a:schemeClr val="tx1"/>
                </a:solidFill>
              </a:rPr>
              <a:t> </a:t>
            </a:r>
          </a:p>
          <a:p>
            <a:pPr marL="580741" lvl="1" indent="-351033">
              <a:spcAft>
                <a:spcPts val="1223"/>
              </a:spcAft>
              <a:buFont typeface="Arial" pitchFamily="34" charset="0"/>
              <a:buChar char="•"/>
            </a:pPr>
            <a:endParaRPr lang="en-US" sz="1100" b="1" dirty="0">
              <a:solidFill>
                <a:schemeClr val="accent6"/>
              </a:solidFill>
            </a:endParaRPr>
          </a:p>
          <a:p>
            <a:pPr marL="580741" lvl="1" indent="-351033">
              <a:spcAft>
                <a:spcPts val="1223"/>
              </a:spcAft>
              <a:buFont typeface="Arial" pitchFamily="34" charset="0"/>
              <a:buChar char="•"/>
            </a:pPr>
            <a:endParaRPr lang="en-US" sz="1100" b="1" dirty="0">
              <a:solidFill>
                <a:schemeClr val="accent6"/>
              </a:solidFill>
            </a:endParaRPr>
          </a:p>
          <a:p>
            <a:pPr marL="229708" lvl="1">
              <a:spcAft>
                <a:spcPts val="1223"/>
              </a:spcAft>
            </a:pPr>
            <a:endParaRPr lang="en-US" sz="1100" b="1" dirty="0">
              <a:solidFill>
                <a:schemeClr val="accent6"/>
              </a:solidFill>
            </a:endParaRPr>
          </a:p>
          <a:p>
            <a:pPr marL="229708" lvl="1">
              <a:spcAft>
                <a:spcPts val="1223"/>
              </a:spcAft>
            </a:pPr>
            <a:endParaRPr lang="en-US" sz="1100" b="1" dirty="0">
              <a:solidFill>
                <a:schemeClr val="accent6"/>
              </a:solidFill>
            </a:endParaRPr>
          </a:p>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a:pPr/>
              <a:t>25</a:t>
            </a:fld>
            <a:endParaRPr lang="en-US" dirty="0"/>
          </a:p>
        </p:txBody>
      </p:sp>
    </p:spTree>
    <p:extLst>
      <p:ext uri="{BB962C8B-B14F-4D97-AF65-F5344CB8AC3E}">
        <p14:creationId xmlns:p14="http://schemas.microsoft.com/office/powerpoint/2010/main" val="8135643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26</a:t>
            </a:fld>
            <a:endParaRPr lang="en-US" dirty="0"/>
          </a:p>
        </p:txBody>
      </p:sp>
    </p:spTree>
    <p:extLst>
      <p:ext uri="{BB962C8B-B14F-4D97-AF65-F5344CB8AC3E}">
        <p14:creationId xmlns:p14="http://schemas.microsoft.com/office/powerpoint/2010/main" val="6166073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27</a:t>
            </a:fld>
            <a:endParaRPr lang="en-US" dirty="0"/>
          </a:p>
        </p:txBody>
      </p:sp>
    </p:spTree>
    <p:extLst>
      <p:ext uri="{BB962C8B-B14F-4D97-AF65-F5344CB8AC3E}">
        <p14:creationId xmlns:p14="http://schemas.microsoft.com/office/powerpoint/2010/main" val="332710668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pPr defTabSz="909388">
              <a:defRPr/>
            </a:pPr>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28</a:t>
            </a:fld>
            <a:endParaRPr lang="en-US" dirty="0"/>
          </a:p>
        </p:txBody>
      </p:sp>
    </p:spTree>
    <p:extLst>
      <p:ext uri="{BB962C8B-B14F-4D97-AF65-F5344CB8AC3E}">
        <p14:creationId xmlns:p14="http://schemas.microsoft.com/office/powerpoint/2010/main" val="41972850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29</a:t>
            </a:fld>
            <a:endParaRPr lang="en-US" dirty="0"/>
          </a:p>
        </p:txBody>
      </p:sp>
    </p:spTree>
    <p:extLst>
      <p:ext uri="{BB962C8B-B14F-4D97-AF65-F5344CB8AC3E}">
        <p14:creationId xmlns:p14="http://schemas.microsoft.com/office/powerpoint/2010/main" val="26632954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30</a:t>
            </a:fld>
            <a:endParaRPr lang="en-US" dirty="0"/>
          </a:p>
        </p:txBody>
      </p:sp>
    </p:spTree>
    <p:extLst>
      <p:ext uri="{BB962C8B-B14F-4D97-AF65-F5344CB8AC3E}">
        <p14:creationId xmlns:p14="http://schemas.microsoft.com/office/powerpoint/2010/main" val="1830066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4</a:t>
            </a:fld>
            <a:endParaRPr lang="en-US" dirty="0"/>
          </a:p>
        </p:txBody>
      </p:sp>
    </p:spTree>
    <p:extLst>
      <p:ext uri="{BB962C8B-B14F-4D97-AF65-F5344CB8AC3E}">
        <p14:creationId xmlns:p14="http://schemas.microsoft.com/office/powerpoint/2010/main" val="8257351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31</a:t>
            </a:fld>
            <a:endParaRPr lang="en-US" dirty="0"/>
          </a:p>
        </p:txBody>
      </p:sp>
    </p:spTree>
    <p:extLst>
      <p:ext uri="{BB962C8B-B14F-4D97-AF65-F5344CB8AC3E}">
        <p14:creationId xmlns:p14="http://schemas.microsoft.com/office/powerpoint/2010/main" val="4203538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pPr defTabSz="909388">
              <a:defRPr/>
            </a:pPr>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32</a:t>
            </a:fld>
            <a:endParaRPr lang="en-US" dirty="0"/>
          </a:p>
        </p:txBody>
      </p:sp>
    </p:spTree>
    <p:extLst>
      <p:ext uri="{BB962C8B-B14F-4D97-AF65-F5344CB8AC3E}">
        <p14:creationId xmlns:p14="http://schemas.microsoft.com/office/powerpoint/2010/main" val="42611677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33</a:t>
            </a:fld>
            <a:endParaRPr lang="en-US" dirty="0"/>
          </a:p>
        </p:txBody>
      </p:sp>
    </p:spTree>
    <p:extLst>
      <p:ext uri="{BB962C8B-B14F-4D97-AF65-F5344CB8AC3E}">
        <p14:creationId xmlns:p14="http://schemas.microsoft.com/office/powerpoint/2010/main" val="27723918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7B4903-1C04-F648-99EE-1E11746CF12C}" type="slidenum">
              <a:rPr lang="en-US" smtClean="0"/>
              <a:t>35</a:t>
            </a:fld>
            <a:endParaRPr lang="en-US" dirty="0"/>
          </a:p>
        </p:txBody>
      </p:sp>
    </p:spTree>
    <p:extLst>
      <p:ext uri="{BB962C8B-B14F-4D97-AF65-F5344CB8AC3E}">
        <p14:creationId xmlns:p14="http://schemas.microsoft.com/office/powerpoint/2010/main" val="34431155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36</a:t>
            </a:fld>
            <a:endParaRPr lang="en-US" dirty="0"/>
          </a:p>
        </p:txBody>
      </p:sp>
    </p:spTree>
    <p:extLst>
      <p:ext uri="{BB962C8B-B14F-4D97-AF65-F5344CB8AC3E}">
        <p14:creationId xmlns:p14="http://schemas.microsoft.com/office/powerpoint/2010/main" val="31198949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37</a:t>
            </a:fld>
            <a:endParaRPr lang="en-US" dirty="0"/>
          </a:p>
        </p:txBody>
      </p:sp>
    </p:spTree>
    <p:extLst>
      <p:ext uri="{BB962C8B-B14F-4D97-AF65-F5344CB8AC3E}">
        <p14:creationId xmlns:p14="http://schemas.microsoft.com/office/powerpoint/2010/main" val="9896450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38</a:t>
            </a:fld>
            <a:endParaRPr lang="en-US" dirty="0"/>
          </a:p>
        </p:txBody>
      </p:sp>
    </p:spTree>
    <p:extLst>
      <p:ext uri="{BB962C8B-B14F-4D97-AF65-F5344CB8AC3E}">
        <p14:creationId xmlns:p14="http://schemas.microsoft.com/office/powerpoint/2010/main" val="25260446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39</a:t>
            </a:fld>
            <a:endParaRPr lang="en-US" dirty="0"/>
          </a:p>
        </p:txBody>
      </p:sp>
    </p:spTree>
    <p:extLst>
      <p:ext uri="{BB962C8B-B14F-4D97-AF65-F5344CB8AC3E}">
        <p14:creationId xmlns:p14="http://schemas.microsoft.com/office/powerpoint/2010/main" val="38593942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40</a:t>
            </a:fld>
            <a:endParaRPr lang="en-US" dirty="0"/>
          </a:p>
        </p:txBody>
      </p:sp>
    </p:spTree>
    <p:extLst>
      <p:ext uri="{BB962C8B-B14F-4D97-AF65-F5344CB8AC3E}">
        <p14:creationId xmlns:p14="http://schemas.microsoft.com/office/powerpoint/2010/main" val="34812093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sz="400" dirty="0">
              <a:solidFill>
                <a:schemeClr val="tx1"/>
              </a:solidFill>
            </a:endParaRPr>
          </a:p>
          <a:p>
            <a:endParaRPr lang="en-US" i="1" dirty="0"/>
          </a:p>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41</a:t>
            </a:fld>
            <a:endParaRPr lang="en-US" dirty="0"/>
          </a:p>
        </p:txBody>
      </p:sp>
    </p:spTree>
    <p:extLst>
      <p:ext uri="{BB962C8B-B14F-4D97-AF65-F5344CB8AC3E}">
        <p14:creationId xmlns:p14="http://schemas.microsoft.com/office/powerpoint/2010/main" val="3160377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5</a:t>
            </a:fld>
            <a:endParaRPr lang="en-US" dirty="0"/>
          </a:p>
        </p:txBody>
      </p:sp>
    </p:spTree>
    <p:extLst>
      <p:ext uri="{BB962C8B-B14F-4D97-AF65-F5344CB8AC3E}">
        <p14:creationId xmlns:p14="http://schemas.microsoft.com/office/powerpoint/2010/main" val="27763665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xfrm>
            <a:off x="473075" y="473075"/>
            <a:ext cx="4972050" cy="27971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z="1000" dirty="0"/>
          </a:p>
        </p:txBody>
      </p:sp>
      <p:sp>
        <p:nvSpPr>
          <p:cNvPr id="4" name="Slide Number Placeholder 3"/>
          <p:cNvSpPr>
            <a:spLocks noGrp="1"/>
          </p:cNvSpPr>
          <p:nvPr>
            <p:ph type="sldNum" sz="quarter" idx="5"/>
          </p:nvPr>
        </p:nvSpPr>
        <p:spPr/>
        <p:txBody>
          <a:bodyPr/>
          <a:lstStyle/>
          <a:p>
            <a:pPr>
              <a:defRPr/>
            </a:pPr>
            <a:fld id="{25B95815-2759-43F7-8CF2-7AC1391CF3A3}" type="slidenum">
              <a:rPr lang="en-US" smtClean="0"/>
              <a:pPr>
                <a:defRPr/>
              </a:pPr>
              <a:t>42</a:t>
            </a:fld>
            <a:endParaRPr lang="en-US" dirty="0"/>
          </a:p>
        </p:txBody>
      </p:sp>
    </p:spTree>
    <p:extLst>
      <p:ext uri="{BB962C8B-B14F-4D97-AF65-F5344CB8AC3E}">
        <p14:creationId xmlns:p14="http://schemas.microsoft.com/office/powerpoint/2010/main" val="2335742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smtClean="0"/>
              <a:pPr/>
              <a:t>6</a:t>
            </a:fld>
            <a:endParaRPr lang="en-US" dirty="0"/>
          </a:p>
        </p:txBody>
      </p:sp>
    </p:spTree>
    <p:extLst>
      <p:ext uri="{BB962C8B-B14F-4D97-AF65-F5344CB8AC3E}">
        <p14:creationId xmlns:p14="http://schemas.microsoft.com/office/powerpoint/2010/main" val="29721854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9093C-2330-49BE-94AF-5A246B0DCEF8}" type="slidenum">
              <a:rPr lang="en-US" smtClean="0"/>
              <a:pPr/>
              <a:t>7</a:t>
            </a:fld>
            <a:endParaRPr lang="en-US" dirty="0"/>
          </a:p>
        </p:txBody>
      </p:sp>
    </p:spTree>
    <p:extLst>
      <p:ext uri="{BB962C8B-B14F-4D97-AF65-F5344CB8AC3E}">
        <p14:creationId xmlns:p14="http://schemas.microsoft.com/office/powerpoint/2010/main" val="529100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9093C-2330-49BE-94AF-5A246B0DCEF8}" type="slidenum">
              <a:rPr lang="en-US"/>
              <a:t>8</a:t>
            </a:fld>
            <a:endParaRPr lang="en-US" dirty="0"/>
          </a:p>
        </p:txBody>
      </p:sp>
    </p:spTree>
    <p:extLst>
      <p:ext uri="{BB962C8B-B14F-4D97-AF65-F5344CB8AC3E}">
        <p14:creationId xmlns:p14="http://schemas.microsoft.com/office/powerpoint/2010/main" val="695902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9</a:t>
            </a:fld>
            <a:endParaRPr lang="en-US" dirty="0"/>
          </a:p>
        </p:txBody>
      </p:sp>
    </p:spTree>
    <p:extLst>
      <p:ext uri="{BB962C8B-B14F-4D97-AF65-F5344CB8AC3E}">
        <p14:creationId xmlns:p14="http://schemas.microsoft.com/office/powerpoint/2010/main" val="39239757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AC6B4D-FBAD-43C3-80DF-436A8A195118}" type="slidenum">
              <a:rPr lang="en-US" smtClean="0"/>
              <a:t>10</a:t>
            </a:fld>
            <a:endParaRPr lang="en-US" dirty="0"/>
          </a:p>
        </p:txBody>
      </p:sp>
    </p:spTree>
    <p:extLst>
      <p:ext uri="{BB962C8B-B14F-4D97-AF65-F5344CB8AC3E}">
        <p14:creationId xmlns:p14="http://schemas.microsoft.com/office/powerpoint/2010/main" val="3424877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0885EA-6B18-4D71-972A-068FF78F5987}"/>
              </a:ext>
            </a:extLst>
          </p:cNvPr>
          <p:cNvSpPr/>
          <p:nvPr userDrawn="1"/>
        </p:nvSpPr>
        <p:spPr>
          <a:xfrm>
            <a:off x="0" y="894"/>
            <a:ext cx="12192000" cy="6856214"/>
          </a:xfrm>
          <a:prstGeom prst="rect">
            <a:avLst/>
          </a:prstGeom>
          <a:gradFill>
            <a:gsLst>
              <a:gs pos="16000">
                <a:srgbClr val="002A88"/>
              </a:gs>
              <a:gs pos="79000">
                <a:srgbClr val="04003C"/>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A2215121-CA48-4D4D-B0FD-1D3BD52AFD4B}"/>
              </a:ext>
            </a:extLst>
          </p:cNvPr>
          <p:cNvSpPr>
            <a:spLocks noGrp="1"/>
          </p:cNvSpPr>
          <p:nvPr>
            <p:ph type="ctrTitle"/>
          </p:nvPr>
        </p:nvSpPr>
        <p:spPr>
          <a:xfrm>
            <a:off x="736600" y="1364718"/>
            <a:ext cx="10710333" cy="1859147"/>
          </a:xfrm>
        </p:spPr>
        <p:txBody>
          <a:bodyPr anchor="b">
            <a:noAutofit/>
          </a:bodyPr>
          <a:lstStyle>
            <a:lvl1pPr algn="ctr">
              <a:defRPr sz="44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62AD32F7-9D35-AB44-A743-E08C4C051515}"/>
              </a:ext>
            </a:extLst>
          </p:cNvPr>
          <p:cNvSpPr>
            <a:spLocks noGrp="1"/>
          </p:cNvSpPr>
          <p:nvPr>
            <p:ph type="subTitle" idx="1"/>
          </p:nvPr>
        </p:nvSpPr>
        <p:spPr>
          <a:xfrm>
            <a:off x="736600" y="3223865"/>
            <a:ext cx="10710333" cy="1332480"/>
          </a:xfrm>
        </p:spPr>
        <p:txBody>
          <a:bodyPr>
            <a:normAutofit/>
          </a:bodyPr>
          <a:lstStyle>
            <a:lvl1pPr marL="0" indent="0" algn="ctr">
              <a:buNone/>
              <a:defRPr sz="2400" b="1">
                <a:solidFill>
                  <a:schemeClr val="accent3"/>
                </a:solidFill>
                <a:latin typeface="+mj-lt"/>
              </a:defRPr>
            </a:lvl1pPr>
            <a:lvl2pPr marL="653109" indent="0" algn="ctr">
              <a:buNone/>
              <a:defRPr sz="2857"/>
            </a:lvl2pPr>
            <a:lvl3pPr marL="1306218" indent="0" algn="ctr">
              <a:buNone/>
              <a:defRPr sz="2572"/>
            </a:lvl3pPr>
            <a:lvl4pPr marL="1959327" indent="0" algn="ctr">
              <a:buNone/>
              <a:defRPr sz="2285"/>
            </a:lvl4pPr>
            <a:lvl5pPr marL="2612436" indent="0" algn="ctr">
              <a:buNone/>
              <a:defRPr sz="2285"/>
            </a:lvl5pPr>
            <a:lvl6pPr marL="3265545" indent="0" algn="ctr">
              <a:buNone/>
              <a:defRPr sz="2285"/>
            </a:lvl6pPr>
            <a:lvl7pPr marL="3918654" indent="0" algn="ctr">
              <a:buNone/>
              <a:defRPr sz="2285"/>
            </a:lvl7pPr>
            <a:lvl8pPr marL="4571764" indent="0" algn="ctr">
              <a:buNone/>
              <a:defRPr sz="2285"/>
            </a:lvl8pPr>
            <a:lvl9pPr marL="5224873" indent="0" algn="ctr">
              <a:buNone/>
              <a:defRPr sz="2285"/>
            </a:lvl9pPr>
          </a:lstStyle>
          <a:p>
            <a:r>
              <a:rPr lang="en-US"/>
              <a:t>Click to edit Master subtitle style</a:t>
            </a:r>
            <a:endParaRPr lang="en-US" dirty="0"/>
          </a:p>
        </p:txBody>
      </p:sp>
      <p:pic>
        <p:nvPicPr>
          <p:cNvPr id="5" name="Graphic 4">
            <a:extLst>
              <a:ext uri="{FF2B5EF4-FFF2-40B4-BE49-F238E27FC236}">
                <a16:creationId xmlns:a16="http://schemas.microsoft.com/office/drawing/2014/main" id="{72E510C9-7083-4F5A-A5CD-A1358F6AE3EA}"/>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569020" y="5500998"/>
            <a:ext cx="3389521" cy="847380"/>
          </a:xfrm>
          <a:prstGeom prst="rect">
            <a:avLst/>
          </a:prstGeom>
        </p:spPr>
      </p:pic>
      <p:sp>
        <p:nvSpPr>
          <p:cNvPr id="4" name="Rectangle 3" hidden="1">
            <a:extLst>
              <a:ext uri="{FF2B5EF4-FFF2-40B4-BE49-F238E27FC236}">
                <a16:creationId xmlns:a16="http://schemas.microsoft.com/office/drawing/2014/main" id="{96E70CF6-21FD-499A-98E7-A525C7362B0A}"/>
              </a:ext>
            </a:extLst>
          </p:cNvPr>
          <p:cNvSpPr/>
          <p:nvPr userDrawn="1">
            <p:custDataLst>
              <p:tags r:id="rId1"/>
            </p:custDataLst>
          </p:nvPr>
        </p:nvSpPr>
        <p:spPr>
          <a:xfrm>
            <a:off x="723900" y="5500998"/>
            <a:ext cx="3302410" cy="847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4316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B1B1A-193A-1F40-B2AB-0A9D2F74DF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E4FCD71-99E5-D846-AD43-7B056FE628C6}"/>
              </a:ext>
            </a:extLst>
          </p:cNvPr>
          <p:cNvSpPr>
            <a:spLocks noGrp="1"/>
          </p:cNvSpPr>
          <p:nvPr>
            <p:ph sz="half" idx="1"/>
          </p:nvPr>
        </p:nvSpPr>
        <p:spPr>
          <a:xfrm>
            <a:off x="72657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8A06A599-343C-AF48-9F5E-ED2800F22C6D}"/>
              </a:ext>
            </a:extLst>
          </p:cNvPr>
          <p:cNvSpPr>
            <a:spLocks noGrp="1"/>
          </p:cNvSpPr>
          <p:nvPr>
            <p:ph sz="half" idx="2"/>
          </p:nvPr>
        </p:nvSpPr>
        <p:spPr>
          <a:xfrm>
            <a:off x="619123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FA09E3-6341-2840-B4B2-446CB6BCD3DE}"/>
              </a:ext>
            </a:extLst>
          </p:cNvPr>
          <p:cNvSpPr>
            <a:spLocks noGrp="1"/>
          </p:cNvSpPr>
          <p:nvPr>
            <p:ph type="dt" sz="half" idx="10"/>
          </p:nvPr>
        </p:nvSpPr>
        <p:spPr/>
        <p:txBody>
          <a:bodyPr/>
          <a:lstStyle/>
          <a:p>
            <a:fld id="{932DD1C2-B208-4562-B8B9-3E9E71B15AEB}" type="datetime1">
              <a:rPr lang="en-US"/>
              <a:t>8/30/2023</a:t>
            </a:fld>
            <a:endParaRPr lang="en-US" dirty="0"/>
          </a:p>
        </p:txBody>
      </p:sp>
      <p:sp>
        <p:nvSpPr>
          <p:cNvPr id="6" name="Footer Placeholder 5">
            <a:extLst>
              <a:ext uri="{FF2B5EF4-FFF2-40B4-BE49-F238E27FC236}">
                <a16:creationId xmlns:a16="http://schemas.microsoft.com/office/drawing/2014/main" id="{B061B294-4D04-E746-8221-395BE429F51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5E9DF78-5CB3-4849-B9FC-1F1763722B41}"/>
              </a:ext>
            </a:extLst>
          </p:cNvPr>
          <p:cNvSpPr>
            <a:spLocks noGrp="1"/>
          </p:cNvSpPr>
          <p:nvPr>
            <p:ph type="sldNum" sz="quarter" idx="12"/>
          </p:nvPr>
        </p:nvSpPr>
        <p:spPr/>
        <p:txBody>
          <a:bodyPr/>
          <a:lstStyle/>
          <a:p>
            <a:fld id="{DA135043-C596-1A48-8BDA-03EB29A64DF4}" type="slidenum">
              <a:rPr lang="en-US"/>
              <a:t>‹#›</a:t>
            </a:fld>
            <a:endParaRPr lang="en-US" dirty="0"/>
          </a:p>
        </p:txBody>
      </p:sp>
      <p:sp>
        <p:nvSpPr>
          <p:cNvPr id="8" name="Rectangle 7" hidden="1">
            <a:extLst>
              <a:ext uri="{FF2B5EF4-FFF2-40B4-BE49-F238E27FC236}">
                <a16:creationId xmlns:a16="http://schemas.microsoft.com/office/drawing/2014/main" id="{6B12440B-82B8-49BB-A179-16B2998F8E4C}"/>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76941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in Point / Quot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453C17-7258-4AD7-9BE0-96A1045478F3}"/>
              </a:ext>
            </a:extLst>
          </p:cNvPr>
          <p:cNvSpPr>
            <a:spLocks noGrp="1"/>
          </p:cNvSpPr>
          <p:nvPr>
            <p:ph type="dt" sz="half" idx="10"/>
          </p:nvPr>
        </p:nvSpPr>
        <p:spPr/>
        <p:txBody>
          <a:bodyPr/>
          <a:lstStyle/>
          <a:p>
            <a:fld id="{CF1D6321-93FB-4F05-956E-95304BDC80A3}" type="datetime1">
              <a:rPr lang="en-US"/>
              <a:t>8/30/2023</a:t>
            </a:fld>
            <a:endParaRPr lang="en-US" dirty="0"/>
          </a:p>
        </p:txBody>
      </p:sp>
      <p:sp>
        <p:nvSpPr>
          <p:cNvPr id="4" name="Footer Placeholder 3">
            <a:extLst>
              <a:ext uri="{FF2B5EF4-FFF2-40B4-BE49-F238E27FC236}">
                <a16:creationId xmlns:a16="http://schemas.microsoft.com/office/drawing/2014/main" id="{424D930B-8A9B-465E-92CD-75EB247A0B7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0157046-792A-4788-B5CA-E9C55F23CA39}"/>
              </a:ext>
            </a:extLst>
          </p:cNvPr>
          <p:cNvSpPr>
            <a:spLocks noGrp="1"/>
          </p:cNvSpPr>
          <p:nvPr>
            <p:ph type="sldNum" sz="quarter" idx="12"/>
          </p:nvPr>
        </p:nvSpPr>
        <p:spPr/>
        <p:txBody>
          <a:bodyPr/>
          <a:lstStyle/>
          <a:p>
            <a:fld id="{DA135043-C596-1A48-8BDA-03EB29A64DF4}" type="slidenum">
              <a:rPr lang="en-US"/>
              <a:pPr/>
              <a:t>‹#›</a:t>
            </a:fld>
            <a:endParaRPr lang="en-US" dirty="0"/>
          </a:p>
        </p:txBody>
      </p:sp>
      <p:sp>
        <p:nvSpPr>
          <p:cNvPr id="7" name="Text Placeholder 6">
            <a:extLst>
              <a:ext uri="{FF2B5EF4-FFF2-40B4-BE49-F238E27FC236}">
                <a16:creationId xmlns:a16="http://schemas.microsoft.com/office/drawing/2014/main" id="{3133373C-0DC7-4594-8F56-DA0E5C7B4D20}"/>
              </a:ext>
            </a:extLst>
          </p:cNvPr>
          <p:cNvSpPr>
            <a:spLocks noGrp="1"/>
          </p:cNvSpPr>
          <p:nvPr>
            <p:ph type="body" sz="quarter" idx="13" hasCustomPrompt="1"/>
          </p:nvPr>
        </p:nvSpPr>
        <p:spPr>
          <a:xfrm>
            <a:off x="723899" y="2025017"/>
            <a:ext cx="10744200" cy="2807966"/>
          </a:xfrm>
          <a:solidFill>
            <a:schemeClr val="accent1"/>
          </a:solidFill>
        </p:spPr>
        <p:txBody>
          <a:bodyPr anchor="ctr">
            <a:normAutofit/>
          </a:bodyPr>
          <a:lstStyle>
            <a:lvl1pPr marL="0" indent="0" algn="ctr">
              <a:buNone/>
              <a:defRPr sz="3600" b="1">
                <a:solidFill>
                  <a:schemeClr val="bg1"/>
                </a:solidFill>
                <a:latin typeface="+mj-lt"/>
              </a:defRPr>
            </a:lvl1pPr>
            <a:lvl2pPr algn="ctr">
              <a:defRPr/>
            </a:lvl2pPr>
            <a:lvl3pPr algn="ctr">
              <a:defRPr/>
            </a:lvl3pPr>
            <a:lvl4pPr algn="ctr">
              <a:defRPr/>
            </a:lvl4pPr>
            <a:lvl5pPr algn="ctr">
              <a:defRPr/>
            </a:lvl5pPr>
          </a:lstStyle>
          <a:p>
            <a:pPr lvl="0"/>
            <a:r>
              <a:rPr lang="en-US" dirty="0"/>
              <a:t>Add takeaway / quote / statement / stat and change color of textbox as needed </a:t>
            </a:r>
          </a:p>
        </p:txBody>
      </p:sp>
      <p:sp>
        <p:nvSpPr>
          <p:cNvPr id="10" name="Rectangle 9" hidden="1">
            <a:extLst>
              <a:ext uri="{FF2B5EF4-FFF2-40B4-BE49-F238E27FC236}">
                <a16:creationId xmlns:a16="http://schemas.microsoft.com/office/drawing/2014/main" id="{DFFA4450-53A1-4811-94EB-744A6A99036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9985131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BFF83D-86B2-B744-9C83-3DB29D769510}"/>
              </a:ext>
            </a:extLst>
          </p:cNvPr>
          <p:cNvSpPr>
            <a:spLocks noGrp="1"/>
          </p:cNvSpPr>
          <p:nvPr>
            <p:ph idx="1"/>
          </p:nvPr>
        </p:nvSpPr>
        <p:spPr>
          <a:xfrm>
            <a:off x="726569" y="855407"/>
            <a:ext cx="7661771" cy="5350686"/>
          </a:xfrm>
        </p:spPr>
        <p:txBody>
          <a:bodyPr/>
          <a:lstStyle>
            <a:lvl1pPr>
              <a:defRPr sz="2000"/>
            </a:lvl1pPr>
            <a:lvl2pPr>
              <a:defRPr sz="1800"/>
            </a:lvl2pPr>
            <a:lvl3pPr>
              <a:defRPr sz="1800"/>
            </a:lvl3pPr>
            <a:lvl4pPr>
              <a:defRPr sz="1600"/>
            </a:lvl4pPr>
            <a:lvl5pPr>
              <a:defRPr sz="1600"/>
            </a:lvl5pPr>
            <a:lvl6pPr>
              <a:defRPr sz="2857"/>
            </a:lvl6pPr>
            <a:lvl7pPr>
              <a:defRPr sz="2857"/>
            </a:lvl7pPr>
            <a:lvl8pPr>
              <a:defRPr sz="2857"/>
            </a:lvl8pPr>
            <a:lvl9pPr>
              <a:defRPr sz="285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E8D613F3-BF58-724B-9FC3-AA157BAE9F36}"/>
              </a:ext>
            </a:extLst>
          </p:cNvPr>
          <p:cNvSpPr>
            <a:spLocks noGrp="1"/>
          </p:cNvSpPr>
          <p:nvPr>
            <p:ph type="body" sz="half" idx="2"/>
          </p:nvPr>
        </p:nvSpPr>
        <p:spPr>
          <a:xfrm>
            <a:off x="8487177" y="855662"/>
            <a:ext cx="2979397" cy="5362575"/>
          </a:xfrm>
          <a:solidFill>
            <a:schemeClr val="tx2"/>
          </a:solidFill>
        </p:spPr>
        <p:txBody>
          <a:bodyPr anchor="ctr">
            <a:normAutofit/>
          </a:bodyPr>
          <a:lstStyle>
            <a:lvl1pPr marL="0" indent="0" algn="ctr">
              <a:buNone/>
              <a:defRPr sz="1800" b="1">
                <a:solidFill>
                  <a:schemeClr val="bg1"/>
                </a:solidFill>
                <a:latin typeface="+mj-lt"/>
              </a:defRPr>
            </a:lvl1pPr>
            <a:lvl2pPr marL="653109" indent="0">
              <a:buNone/>
              <a:defRPr sz="2000"/>
            </a:lvl2pPr>
            <a:lvl3pPr marL="1306218" indent="0">
              <a:buNone/>
              <a:defRPr sz="1715"/>
            </a:lvl3pPr>
            <a:lvl4pPr marL="1959327" indent="0">
              <a:buNone/>
              <a:defRPr sz="1428"/>
            </a:lvl4pPr>
            <a:lvl5pPr marL="2612436" indent="0">
              <a:buNone/>
              <a:defRPr sz="1428"/>
            </a:lvl5pPr>
            <a:lvl6pPr marL="3265545" indent="0">
              <a:buNone/>
              <a:defRPr sz="1428"/>
            </a:lvl6pPr>
            <a:lvl7pPr marL="3918654" indent="0">
              <a:buNone/>
              <a:defRPr sz="1428"/>
            </a:lvl7pPr>
            <a:lvl8pPr marL="4571764" indent="0">
              <a:buNone/>
              <a:defRPr sz="1428"/>
            </a:lvl8pPr>
            <a:lvl9pPr marL="5224873" indent="0">
              <a:buNone/>
              <a:defRPr sz="1428"/>
            </a:lvl9pPr>
          </a:lstStyle>
          <a:p>
            <a:pPr lvl="0"/>
            <a:r>
              <a:rPr lang="en-US"/>
              <a:t>Edit Master text styles</a:t>
            </a:r>
          </a:p>
        </p:txBody>
      </p:sp>
      <p:sp>
        <p:nvSpPr>
          <p:cNvPr id="5" name="Date Placeholder 4">
            <a:extLst>
              <a:ext uri="{FF2B5EF4-FFF2-40B4-BE49-F238E27FC236}">
                <a16:creationId xmlns:a16="http://schemas.microsoft.com/office/drawing/2014/main" id="{C33984B2-B9A6-BB42-BB99-BB239974F7EC}"/>
              </a:ext>
            </a:extLst>
          </p:cNvPr>
          <p:cNvSpPr>
            <a:spLocks noGrp="1"/>
          </p:cNvSpPr>
          <p:nvPr>
            <p:ph type="dt" sz="half" idx="10"/>
          </p:nvPr>
        </p:nvSpPr>
        <p:spPr/>
        <p:txBody>
          <a:bodyPr/>
          <a:lstStyle/>
          <a:p>
            <a:fld id="{DAF5B2D5-28BB-4232-A525-B24A04EE71CB}" type="datetime1">
              <a:rPr lang="en-US"/>
              <a:t>8/30/2023</a:t>
            </a:fld>
            <a:endParaRPr lang="en-US" dirty="0"/>
          </a:p>
        </p:txBody>
      </p:sp>
      <p:sp>
        <p:nvSpPr>
          <p:cNvPr id="6" name="Footer Placeholder 5">
            <a:extLst>
              <a:ext uri="{FF2B5EF4-FFF2-40B4-BE49-F238E27FC236}">
                <a16:creationId xmlns:a16="http://schemas.microsoft.com/office/drawing/2014/main" id="{5B5E69B3-56DA-944E-9F0B-8E52A16DF7B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ACDF43D-6601-6248-AA5E-FC6E72A5A8F2}"/>
              </a:ext>
            </a:extLst>
          </p:cNvPr>
          <p:cNvSpPr>
            <a:spLocks noGrp="1"/>
          </p:cNvSpPr>
          <p:nvPr>
            <p:ph type="sldNum" sz="quarter" idx="12"/>
          </p:nvPr>
        </p:nvSpPr>
        <p:spPr/>
        <p:txBody>
          <a:bodyPr/>
          <a:lstStyle/>
          <a:p>
            <a:fld id="{DA135043-C596-1A48-8BDA-03EB29A64DF4}" type="slidenum">
              <a:rPr lang="en-US"/>
              <a:t>‹#›</a:t>
            </a:fld>
            <a:endParaRPr lang="en-US" dirty="0"/>
          </a:p>
        </p:txBody>
      </p:sp>
      <p:sp>
        <p:nvSpPr>
          <p:cNvPr id="8" name="Title 7">
            <a:extLst>
              <a:ext uri="{FF2B5EF4-FFF2-40B4-BE49-F238E27FC236}">
                <a16:creationId xmlns:a16="http://schemas.microsoft.com/office/drawing/2014/main" id="{11367FFD-A968-49DF-AC50-8C55CD8A0C90}"/>
              </a:ext>
            </a:extLst>
          </p:cNvPr>
          <p:cNvSpPr>
            <a:spLocks noGrp="1"/>
          </p:cNvSpPr>
          <p:nvPr>
            <p:ph type="title"/>
          </p:nvPr>
        </p:nvSpPr>
        <p:spPr/>
        <p:txBody>
          <a:bodyPr/>
          <a:lstStyle/>
          <a:p>
            <a:r>
              <a:rPr lang="en-US"/>
              <a:t>Click to edit Master title style</a:t>
            </a:r>
          </a:p>
        </p:txBody>
      </p:sp>
      <p:sp>
        <p:nvSpPr>
          <p:cNvPr id="9" name="Rectangle 8" hidden="1">
            <a:extLst>
              <a:ext uri="{FF2B5EF4-FFF2-40B4-BE49-F238E27FC236}">
                <a16:creationId xmlns:a16="http://schemas.microsoft.com/office/drawing/2014/main" id="{82F75050-2159-4314-A8A6-F31BFBC46EA2}"/>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6925169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586A1E-9049-0F43-BE0A-906179F5CE15}"/>
              </a:ext>
            </a:extLst>
          </p:cNvPr>
          <p:cNvSpPr>
            <a:spLocks noGrp="1"/>
          </p:cNvSpPr>
          <p:nvPr>
            <p:ph type="dt" sz="half" idx="10"/>
          </p:nvPr>
        </p:nvSpPr>
        <p:spPr/>
        <p:txBody>
          <a:bodyPr/>
          <a:lstStyle/>
          <a:p>
            <a:fld id="{708111A3-0FE3-4FBC-BE91-E192DED52CB4}" type="datetime1">
              <a:rPr lang="en-US"/>
              <a:t>8/30/2023</a:t>
            </a:fld>
            <a:endParaRPr lang="en-US" dirty="0"/>
          </a:p>
        </p:txBody>
      </p:sp>
      <p:sp>
        <p:nvSpPr>
          <p:cNvPr id="3" name="Footer Placeholder 2">
            <a:extLst>
              <a:ext uri="{FF2B5EF4-FFF2-40B4-BE49-F238E27FC236}">
                <a16:creationId xmlns:a16="http://schemas.microsoft.com/office/drawing/2014/main" id="{1434A5AD-F092-F342-A9CB-26ADA6CAC85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DCB0A3B-B17C-C643-8EA2-B56455436C8C}"/>
              </a:ext>
            </a:extLst>
          </p:cNvPr>
          <p:cNvSpPr>
            <a:spLocks noGrp="1"/>
          </p:cNvSpPr>
          <p:nvPr>
            <p:ph type="sldNum" sz="quarter" idx="12"/>
          </p:nvPr>
        </p:nvSpPr>
        <p:spPr/>
        <p:txBody>
          <a:bodyPr/>
          <a:lstStyle/>
          <a:p>
            <a:fld id="{DA135043-C596-1A48-8BDA-03EB29A64DF4}" type="slidenum">
              <a:rPr lang="en-US"/>
              <a:t>‹#›</a:t>
            </a:fld>
            <a:endParaRPr lang="en-US" dirty="0"/>
          </a:p>
        </p:txBody>
      </p:sp>
      <p:sp>
        <p:nvSpPr>
          <p:cNvPr id="7" name="Rectangle 6" hidden="1">
            <a:extLst>
              <a:ext uri="{FF2B5EF4-FFF2-40B4-BE49-F238E27FC236}">
                <a16:creationId xmlns:a16="http://schemas.microsoft.com/office/drawing/2014/main" id="{BDB5A986-3CC4-4068-9673-999468AFDB9F}"/>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412994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B41EC-0138-4DE4-AE99-9A5220A5A794}"/>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id="{02091DE6-9757-4FF4-B09E-C0013B9D7A91}"/>
              </a:ext>
            </a:extLst>
          </p:cNvPr>
          <p:cNvSpPr>
            <a:spLocks noGrp="1"/>
          </p:cNvSpPr>
          <p:nvPr>
            <p:ph type="pic" sz="quarter" idx="13" hasCustomPrompt="1"/>
          </p:nvPr>
        </p:nvSpPr>
        <p:spPr>
          <a:xfrm>
            <a:off x="736603"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4" name="Picture Placeholder 13">
            <a:extLst>
              <a:ext uri="{FF2B5EF4-FFF2-40B4-BE49-F238E27FC236}">
                <a16:creationId xmlns:a16="http://schemas.microsoft.com/office/drawing/2014/main" id="{B7AD1791-C116-44D1-8342-307A77972B2F}"/>
              </a:ext>
            </a:extLst>
          </p:cNvPr>
          <p:cNvSpPr>
            <a:spLocks noGrp="1"/>
          </p:cNvSpPr>
          <p:nvPr>
            <p:ph type="pic" sz="quarter" idx="14" hasCustomPrompt="1"/>
          </p:nvPr>
        </p:nvSpPr>
        <p:spPr>
          <a:xfrm>
            <a:off x="735757"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6" name="Picture Placeholder 15">
            <a:extLst>
              <a:ext uri="{FF2B5EF4-FFF2-40B4-BE49-F238E27FC236}">
                <a16:creationId xmlns:a16="http://schemas.microsoft.com/office/drawing/2014/main" id="{A624C46F-9E17-4F79-AA19-1EEFE78D3ED6}"/>
              </a:ext>
            </a:extLst>
          </p:cNvPr>
          <p:cNvSpPr>
            <a:spLocks noGrp="1"/>
          </p:cNvSpPr>
          <p:nvPr>
            <p:ph type="pic" sz="quarter" idx="15" hasCustomPrompt="1"/>
          </p:nvPr>
        </p:nvSpPr>
        <p:spPr>
          <a:xfrm>
            <a:off x="735757" y="3683793"/>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8" name="Picture Placeholder 17">
            <a:extLst>
              <a:ext uri="{FF2B5EF4-FFF2-40B4-BE49-F238E27FC236}">
                <a16:creationId xmlns:a16="http://schemas.microsoft.com/office/drawing/2014/main" id="{E6F49704-7B4C-435B-B0A9-B43AD0E00B70}"/>
              </a:ext>
            </a:extLst>
          </p:cNvPr>
          <p:cNvSpPr>
            <a:spLocks noGrp="1"/>
          </p:cNvSpPr>
          <p:nvPr>
            <p:ph type="pic" sz="quarter" idx="16" hasCustomPrompt="1"/>
          </p:nvPr>
        </p:nvSpPr>
        <p:spPr>
          <a:xfrm>
            <a:off x="735757" y="4931269"/>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20" name="Text Placeholder 19">
            <a:extLst>
              <a:ext uri="{FF2B5EF4-FFF2-40B4-BE49-F238E27FC236}">
                <a16:creationId xmlns:a16="http://schemas.microsoft.com/office/drawing/2014/main" id="{048EBB51-3DD1-43E0-85E4-BBAF9815846F}"/>
              </a:ext>
            </a:extLst>
          </p:cNvPr>
          <p:cNvSpPr>
            <a:spLocks noGrp="1"/>
          </p:cNvSpPr>
          <p:nvPr>
            <p:ph type="body" sz="quarter" idx="17" hasCustomPrompt="1"/>
          </p:nvPr>
        </p:nvSpPr>
        <p:spPr>
          <a:xfrm>
            <a:off x="1784988"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2" name="Text Placeholder 21">
            <a:extLst>
              <a:ext uri="{FF2B5EF4-FFF2-40B4-BE49-F238E27FC236}">
                <a16:creationId xmlns:a16="http://schemas.microsoft.com/office/drawing/2014/main" id="{B652FA6D-B8C8-4A78-82B7-708F6D21C27B}"/>
              </a:ext>
            </a:extLst>
          </p:cNvPr>
          <p:cNvSpPr>
            <a:spLocks noGrp="1"/>
          </p:cNvSpPr>
          <p:nvPr>
            <p:ph type="body" sz="quarter" idx="18" hasCustomPrompt="1"/>
          </p:nvPr>
        </p:nvSpPr>
        <p:spPr>
          <a:xfrm>
            <a:off x="1784989"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4" name="Text Placeholder 23">
            <a:extLst>
              <a:ext uri="{FF2B5EF4-FFF2-40B4-BE49-F238E27FC236}">
                <a16:creationId xmlns:a16="http://schemas.microsoft.com/office/drawing/2014/main" id="{EA753D7B-98DC-479D-9880-76B797956B40}"/>
              </a:ext>
            </a:extLst>
          </p:cNvPr>
          <p:cNvSpPr>
            <a:spLocks noGrp="1"/>
          </p:cNvSpPr>
          <p:nvPr>
            <p:ph type="body" sz="quarter" idx="19" hasCustomPrompt="1"/>
          </p:nvPr>
        </p:nvSpPr>
        <p:spPr>
          <a:xfrm>
            <a:off x="1784989" y="3944347"/>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6" name="Text Placeholder 25">
            <a:extLst>
              <a:ext uri="{FF2B5EF4-FFF2-40B4-BE49-F238E27FC236}">
                <a16:creationId xmlns:a16="http://schemas.microsoft.com/office/drawing/2014/main" id="{BE1FCCB2-14A7-45A9-B19B-0EA3718AF12A}"/>
              </a:ext>
            </a:extLst>
          </p:cNvPr>
          <p:cNvSpPr>
            <a:spLocks noGrp="1"/>
          </p:cNvSpPr>
          <p:nvPr>
            <p:ph type="body" sz="quarter" idx="20" hasCustomPrompt="1"/>
          </p:nvPr>
        </p:nvSpPr>
        <p:spPr>
          <a:xfrm>
            <a:off x="1784989" y="5191823"/>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8" name="Picture Placeholder 27">
            <a:extLst>
              <a:ext uri="{FF2B5EF4-FFF2-40B4-BE49-F238E27FC236}">
                <a16:creationId xmlns:a16="http://schemas.microsoft.com/office/drawing/2014/main" id="{0A7B97EF-654A-4399-922B-00908C0B894F}"/>
              </a:ext>
            </a:extLst>
          </p:cNvPr>
          <p:cNvSpPr>
            <a:spLocks noGrp="1"/>
          </p:cNvSpPr>
          <p:nvPr>
            <p:ph type="pic" sz="quarter" idx="21" hasCustomPrompt="1"/>
          </p:nvPr>
        </p:nvSpPr>
        <p:spPr>
          <a:xfrm>
            <a:off x="6281696"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0" name="Picture Placeholder 29">
            <a:extLst>
              <a:ext uri="{FF2B5EF4-FFF2-40B4-BE49-F238E27FC236}">
                <a16:creationId xmlns:a16="http://schemas.microsoft.com/office/drawing/2014/main" id="{04370EF0-E179-46C9-9E26-7F3862BC11C7}"/>
              </a:ext>
            </a:extLst>
          </p:cNvPr>
          <p:cNvSpPr>
            <a:spLocks noGrp="1"/>
          </p:cNvSpPr>
          <p:nvPr>
            <p:ph type="pic" sz="quarter" idx="22" hasCustomPrompt="1"/>
          </p:nvPr>
        </p:nvSpPr>
        <p:spPr>
          <a:xfrm>
            <a:off x="6281696"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2" name="Picture Placeholder 31">
            <a:extLst>
              <a:ext uri="{FF2B5EF4-FFF2-40B4-BE49-F238E27FC236}">
                <a16:creationId xmlns:a16="http://schemas.microsoft.com/office/drawing/2014/main" id="{B22EA77D-2B89-48F1-809A-21A7443F39CB}"/>
              </a:ext>
            </a:extLst>
          </p:cNvPr>
          <p:cNvSpPr>
            <a:spLocks noGrp="1"/>
          </p:cNvSpPr>
          <p:nvPr>
            <p:ph type="pic" sz="quarter" idx="23" hasCustomPrompt="1"/>
          </p:nvPr>
        </p:nvSpPr>
        <p:spPr>
          <a:xfrm>
            <a:off x="6281696" y="3688670"/>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4" name="Picture Placeholder 33">
            <a:extLst>
              <a:ext uri="{FF2B5EF4-FFF2-40B4-BE49-F238E27FC236}">
                <a16:creationId xmlns:a16="http://schemas.microsoft.com/office/drawing/2014/main" id="{90B09503-3FEF-4CCF-9778-B379C442CEA3}"/>
              </a:ext>
            </a:extLst>
          </p:cNvPr>
          <p:cNvSpPr>
            <a:spLocks noGrp="1"/>
          </p:cNvSpPr>
          <p:nvPr>
            <p:ph type="pic" sz="quarter" idx="24" hasCustomPrompt="1"/>
          </p:nvPr>
        </p:nvSpPr>
        <p:spPr>
          <a:xfrm>
            <a:off x="6281696" y="4931271"/>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6" name="Text Placeholder 35">
            <a:extLst>
              <a:ext uri="{FF2B5EF4-FFF2-40B4-BE49-F238E27FC236}">
                <a16:creationId xmlns:a16="http://schemas.microsoft.com/office/drawing/2014/main" id="{E4204AE6-3065-4932-9FF7-460921375E64}"/>
              </a:ext>
            </a:extLst>
          </p:cNvPr>
          <p:cNvSpPr>
            <a:spLocks noGrp="1"/>
          </p:cNvSpPr>
          <p:nvPr>
            <p:ph type="body" sz="quarter" idx="25" hasCustomPrompt="1"/>
          </p:nvPr>
        </p:nvSpPr>
        <p:spPr>
          <a:xfrm>
            <a:off x="7360901"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38" name="Text Placeholder 37">
            <a:extLst>
              <a:ext uri="{FF2B5EF4-FFF2-40B4-BE49-F238E27FC236}">
                <a16:creationId xmlns:a16="http://schemas.microsoft.com/office/drawing/2014/main" id="{EC258CB3-809B-4E55-9D97-E236614394CF}"/>
              </a:ext>
            </a:extLst>
          </p:cNvPr>
          <p:cNvSpPr>
            <a:spLocks noGrp="1"/>
          </p:cNvSpPr>
          <p:nvPr>
            <p:ph type="body" sz="quarter" idx="26" hasCustomPrompt="1"/>
          </p:nvPr>
        </p:nvSpPr>
        <p:spPr>
          <a:xfrm>
            <a:off x="7360901"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40" name="Text Placeholder 39">
            <a:extLst>
              <a:ext uri="{FF2B5EF4-FFF2-40B4-BE49-F238E27FC236}">
                <a16:creationId xmlns:a16="http://schemas.microsoft.com/office/drawing/2014/main" id="{F8D6D001-984E-4D2F-8FDA-6F3F609E8063}"/>
              </a:ext>
            </a:extLst>
          </p:cNvPr>
          <p:cNvSpPr>
            <a:spLocks noGrp="1"/>
          </p:cNvSpPr>
          <p:nvPr>
            <p:ph type="body" sz="quarter" idx="27" hasCustomPrompt="1"/>
          </p:nvPr>
        </p:nvSpPr>
        <p:spPr>
          <a:xfrm>
            <a:off x="7360901" y="3944347"/>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2" name="Text Placeholder 41">
            <a:extLst>
              <a:ext uri="{FF2B5EF4-FFF2-40B4-BE49-F238E27FC236}">
                <a16:creationId xmlns:a16="http://schemas.microsoft.com/office/drawing/2014/main" id="{0275046B-85D4-40B0-974A-EC444D6C6133}"/>
              </a:ext>
            </a:extLst>
          </p:cNvPr>
          <p:cNvSpPr>
            <a:spLocks noGrp="1"/>
          </p:cNvSpPr>
          <p:nvPr>
            <p:ph type="body" sz="quarter" idx="28" hasCustomPrompt="1"/>
          </p:nvPr>
        </p:nvSpPr>
        <p:spPr>
          <a:xfrm>
            <a:off x="7360901" y="5191823"/>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4" name="Text Placeholder 43">
            <a:extLst>
              <a:ext uri="{FF2B5EF4-FFF2-40B4-BE49-F238E27FC236}">
                <a16:creationId xmlns:a16="http://schemas.microsoft.com/office/drawing/2014/main" id="{F18208AC-A0A1-40B9-92BE-7A9902664863}"/>
              </a:ext>
            </a:extLst>
          </p:cNvPr>
          <p:cNvSpPr>
            <a:spLocks noGrp="1"/>
          </p:cNvSpPr>
          <p:nvPr>
            <p:ph type="body" sz="quarter" idx="29" hasCustomPrompt="1"/>
          </p:nvPr>
        </p:nvSpPr>
        <p:spPr>
          <a:xfrm>
            <a:off x="1784988" y="1659239"/>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6" name="Text Placeholder 45">
            <a:extLst>
              <a:ext uri="{FF2B5EF4-FFF2-40B4-BE49-F238E27FC236}">
                <a16:creationId xmlns:a16="http://schemas.microsoft.com/office/drawing/2014/main" id="{BE580B3F-D345-409E-A1E3-D30B57D2A3F7}"/>
              </a:ext>
            </a:extLst>
          </p:cNvPr>
          <p:cNvSpPr>
            <a:spLocks noGrp="1"/>
          </p:cNvSpPr>
          <p:nvPr>
            <p:ph type="body" sz="quarter" idx="30" hasCustomPrompt="1"/>
          </p:nvPr>
        </p:nvSpPr>
        <p:spPr>
          <a:xfrm>
            <a:off x="1784989" y="2906327"/>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8" name="Text Placeholder 47">
            <a:extLst>
              <a:ext uri="{FF2B5EF4-FFF2-40B4-BE49-F238E27FC236}">
                <a16:creationId xmlns:a16="http://schemas.microsoft.com/office/drawing/2014/main" id="{4EFA9CFB-0285-4E07-8E72-0E78463D1A25}"/>
              </a:ext>
            </a:extLst>
          </p:cNvPr>
          <p:cNvSpPr>
            <a:spLocks noGrp="1"/>
          </p:cNvSpPr>
          <p:nvPr>
            <p:ph type="body" sz="quarter" idx="31" hasCustomPrompt="1"/>
          </p:nvPr>
        </p:nvSpPr>
        <p:spPr>
          <a:xfrm>
            <a:off x="1784989" y="4143553"/>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0" name="Text Placeholder 49">
            <a:extLst>
              <a:ext uri="{FF2B5EF4-FFF2-40B4-BE49-F238E27FC236}">
                <a16:creationId xmlns:a16="http://schemas.microsoft.com/office/drawing/2014/main" id="{0ACE9153-8BF7-4F98-A1F0-9C7C3A1A0457}"/>
              </a:ext>
            </a:extLst>
          </p:cNvPr>
          <p:cNvSpPr>
            <a:spLocks noGrp="1"/>
          </p:cNvSpPr>
          <p:nvPr>
            <p:ph type="body" sz="quarter" idx="32" hasCustomPrompt="1"/>
          </p:nvPr>
        </p:nvSpPr>
        <p:spPr>
          <a:xfrm>
            <a:off x="1784989" y="5395962"/>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2" name="Text Placeholder 51">
            <a:extLst>
              <a:ext uri="{FF2B5EF4-FFF2-40B4-BE49-F238E27FC236}">
                <a16:creationId xmlns:a16="http://schemas.microsoft.com/office/drawing/2014/main" id="{204D67AE-9D0B-4C5D-A014-244BFEA1C4FE}"/>
              </a:ext>
            </a:extLst>
          </p:cNvPr>
          <p:cNvSpPr>
            <a:spLocks noGrp="1"/>
          </p:cNvSpPr>
          <p:nvPr>
            <p:ph type="body" sz="quarter" idx="33" hasCustomPrompt="1"/>
          </p:nvPr>
        </p:nvSpPr>
        <p:spPr>
          <a:xfrm>
            <a:off x="7360901" y="1659239"/>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4" name="Text Placeholder 53">
            <a:extLst>
              <a:ext uri="{FF2B5EF4-FFF2-40B4-BE49-F238E27FC236}">
                <a16:creationId xmlns:a16="http://schemas.microsoft.com/office/drawing/2014/main" id="{4AC9D7EE-310E-477E-A612-53CF908A2BC6}"/>
              </a:ext>
            </a:extLst>
          </p:cNvPr>
          <p:cNvSpPr>
            <a:spLocks noGrp="1"/>
          </p:cNvSpPr>
          <p:nvPr>
            <p:ph type="body" sz="quarter" idx="34" hasCustomPrompt="1"/>
          </p:nvPr>
        </p:nvSpPr>
        <p:spPr>
          <a:xfrm>
            <a:off x="7360901" y="2908441"/>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6" name="Text Placeholder 55">
            <a:extLst>
              <a:ext uri="{FF2B5EF4-FFF2-40B4-BE49-F238E27FC236}">
                <a16:creationId xmlns:a16="http://schemas.microsoft.com/office/drawing/2014/main" id="{B0585990-F104-450D-AEC0-B8D5EBCD73FD}"/>
              </a:ext>
            </a:extLst>
          </p:cNvPr>
          <p:cNvSpPr>
            <a:spLocks noGrp="1"/>
          </p:cNvSpPr>
          <p:nvPr>
            <p:ph type="body" sz="quarter" idx="35" hasCustomPrompt="1"/>
          </p:nvPr>
        </p:nvSpPr>
        <p:spPr>
          <a:xfrm>
            <a:off x="7360901" y="4141964"/>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8" name="Text Placeholder 57">
            <a:extLst>
              <a:ext uri="{FF2B5EF4-FFF2-40B4-BE49-F238E27FC236}">
                <a16:creationId xmlns:a16="http://schemas.microsoft.com/office/drawing/2014/main" id="{AF51DC81-E1CE-4439-A97C-6BF06C65561A}"/>
              </a:ext>
            </a:extLst>
          </p:cNvPr>
          <p:cNvSpPr>
            <a:spLocks noGrp="1"/>
          </p:cNvSpPr>
          <p:nvPr>
            <p:ph type="body" sz="quarter" idx="36" hasCustomPrompt="1"/>
          </p:nvPr>
        </p:nvSpPr>
        <p:spPr>
          <a:xfrm>
            <a:off x="7360901" y="5397702"/>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60" name="Text Placeholder 59">
            <a:extLst>
              <a:ext uri="{FF2B5EF4-FFF2-40B4-BE49-F238E27FC236}">
                <a16:creationId xmlns:a16="http://schemas.microsoft.com/office/drawing/2014/main" id="{1C0B8854-C98C-4016-93D9-7B45F5F49115}"/>
              </a:ext>
            </a:extLst>
          </p:cNvPr>
          <p:cNvSpPr>
            <a:spLocks noGrp="1"/>
          </p:cNvSpPr>
          <p:nvPr>
            <p:ph type="body" sz="quarter" idx="37" hasCustomPrompt="1"/>
          </p:nvPr>
        </p:nvSpPr>
        <p:spPr>
          <a:xfrm>
            <a:off x="1784988" y="1876077"/>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2" name="Text Placeholder 61">
            <a:extLst>
              <a:ext uri="{FF2B5EF4-FFF2-40B4-BE49-F238E27FC236}">
                <a16:creationId xmlns:a16="http://schemas.microsoft.com/office/drawing/2014/main" id="{6BB922AC-171B-49A5-A24B-5CBB848D8D0B}"/>
              </a:ext>
            </a:extLst>
          </p:cNvPr>
          <p:cNvSpPr>
            <a:spLocks noGrp="1"/>
          </p:cNvSpPr>
          <p:nvPr>
            <p:ph type="body" sz="quarter" idx="38" hasCustomPrompt="1"/>
          </p:nvPr>
        </p:nvSpPr>
        <p:spPr>
          <a:xfrm>
            <a:off x="1784989" y="312106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4" name="Text Placeholder 63">
            <a:extLst>
              <a:ext uri="{FF2B5EF4-FFF2-40B4-BE49-F238E27FC236}">
                <a16:creationId xmlns:a16="http://schemas.microsoft.com/office/drawing/2014/main" id="{912EDFC7-7B53-466B-8746-73E9FA503805}"/>
              </a:ext>
            </a:extLst>
          </p:cNvPr>
          <p:cNvSpPr>
            <a:spLocks noGrp="1"/>
          </p:cNvSpPr>
          <p:nvPr>
            <p:ph type="body" sz="quarter" idx="39" hasCustomPrompt="1"/>
          </p:nvPr>
        </p:nvSpPr>
        <p:spPr>
          <a:xfrm>
            <a:off x="1784989" y="4356201"/>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6" name="Text Placeholder 65">
            <a:extLst>
              <a:ext uri="{FF2B5EF4-FFF2-40B4-BE49-F238E27FC236}">
                <a16:creationId xmlns:a16="http://schemas.microsoft.com/office/drawing/2014/main" id="{DCB8EC18-185E-4715-A73D-AA3567290238}"/>
              </a:ext>
            </a:extLst>
          </p:cNvPr>
          <p:cNvSpPr>
            <a:spLocks noGrp="1"/>
          </p:cNvSpPr>
          <p:nvPr>
            <p:ph type="body" sz="quarter" idx="40" hasCustomPrompt="1"/>
          </p:nvPr>
        </p:nvSpPr>
        <p:spPr>
          <a:xfrm>
            <a:off x="1784989" y="5611100"/>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8" name="Text Placeholder 67">
            <a:extLst>
              <a:ext uri="{FF2B5EF4-FFF2-40B4-BE49-F238E27FC236}">
                <a16:creationId xmlns:a16="http://schemas.microsoft.com/office/drawing/2014/main" id="{F78B8A35-681B-4736-A327-9D2574C68DE1}"/>
              </a:ext>
            </a:extLst>
          </p:cNvPr>
          <p:cNvSpPr>
            <a:spLocks noGrp="1"/>
          </p:cNvSpPr>
          <p:nvPr>
            <p:ph type="body" sz="quarter" idx="41" hasCustomPrompt="1"/>
          </p:nvPr>
        </p:nvSpPr>
        <p:spPr>
          <a:xfrm>
            <a:off x="7360901" y="1876077"/>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70" name="Text Placeholder 69">
            <a:extLst>
              <a:ext uri="{FF2B5EF4-FFF2-40B4-BE49-F238E27FC236}">
                <a16:creationId xmlns:a16="http://schemas.microsoft.com/office/drawing/2014/main" id="{72417CE2-C254-41A4-8610-B95F2F18C25C}"/>
              </a:ext>
            </a:extLst>
          </p:cNvPr>
          <p:cNvSpPr>
            <a:spLocks noGrp="1"/>
          </p:cNvSpPr>
          <p:nvPr>
            <p:ph type="body" sz="quarter" idx="42" hasCustomPrompt="1"/>
          </p:nvPr>
        </p:nvSpPr>
        <p:spPr>
          <a:xfrm>
            <a:off x="7360901" y="312123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2" name="Text Placeholder 71">
            <a:extLst>
              <a:ext uri="{FF2B5EF4-FFF2-40B4-BE49-F238E27FC236}">
                <a16:creationId xmlns:a16="http://schemas.microsoft.com/office/drawing/2014/main" id="{84D74EAC-1C95-445A-9F25-CFA3545F368B}"/>
              </a:ext>
            </a:extLst>
          </p:cNvPr>
          <p:cNvSpPr>
            <a:spLocks noGrp="1"/>
          </p:cNvSpPr>
          <p:nvPr>
            <p:ph type="body" sz="quarter" idx="43" hasCustomPrompt="1"/>
          </p:nvPr>
        </p:nvSpPr>
        <p:spPr>
          <a:xfrm>
            <a:off x="7360901" y="435561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4" name="Text Placeholder 73">
            <a:extLst>
              <a:ext uri="{FF2B5EF4-FFF2-40B4-BE49-F238E27FC236}">
                <a16:creationId xmlns:a16="http://schemas.microsoft.com/office/drawing/2014/main" id="{8B0E9BE7-6753-43A9-9234-A942A389C87F}"/>
              </a:ext>
            </a:extLst>
          </p:cNvPr>
          <p:cNvSpPr>
            <a:spLocks noGrp="1"/>
          </p:cNvSpPr>
          <p:nvPr>
            <p:ph type="body" sz="quarter" idx="44" hasCustomPrompt="1"/>
          </p:nvPr>
        </p:nvSpPr>
        <p:spPr>
          <a:xfrm>
            <a:off x="7360901" y="561204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45" name="Rectangle 44" hidden="1">
            <a:extLst>
              <a:ext uri="{FF2B5EF4-FFF2-40B4-BE49-F238E27FC236}">
                <a16:creationId xmlns:a16="http://schemas.microsoft.com/office/drawing/2014/main" id="{EA15195B-B4BB-4536-81F2-3D8922482441}"/>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Date Placeholder 5">
            <a:extLst>
              <a:ext uri="{FF2B5EF4-FFF2-40B4-BE49-F238E27FC236}">
                <a16:creationId xmlns:a16="http://schemas.microsoft.com/office/drawing/2014/main" id="{E7541D32-1BAC-4EDC-BD30-0617FF0B32F1}"/>
              </a:ext>
            </a:extLst>
          </p:cNvPr>
          <p:cNvSpPr>
            <a:spLocks noGrp="1"/>
          </p:cNvSpPr>
          <p:nvPr>
            <p:ph type="dt" sz="half" idx="45"/>
          </p:nvPr>
        </p:nvSpPr>
        <p:spPr/>
        <p:txBody>
          <a:bodyPr/>
          <a:lstStyle/>
          <a:p>
            <a:fld id="{0CA7E49E-8520-48E1-8F47-DB7F5A59BF68}" type="datetime1">
              <a:rPr lang="en-US"/>
              <a:t>8/30/2023</a:t>
            </a:fld>
            <a:endParaRPr lang="en-US" dirty="0"/>
          </a:p>
        </p:txBody>
      </p:sp>
      <p:sp>
        <p:nvSpPr>
          <p:cNvPr id="8" name="Footer Placeholder 7">
            <a:extLst>
              <a:ext uri="{FF2B5EF4-FFF2-40B4-BE49-F238E27FC236}">
                <a16:creationId xmlns:a16="http://schemas.microsoft.com/office/drawing/2014/main" id="{ED8629CF-1C4F-401F-ADC7-50A5C0528419}"/>
              </a:ext>
            </a:extLst>
          </p:cNvPr>
          <p:cNvSpPr>
            <a:spLocks noGrp="1"/>
          </p:cNvSpPr>
          <p:nvPr>
            <p:ph type="ftr" sz="quarter" idx="46"/>
          </p:nvPr>
        </p:nvSpPr>
        <p:spPr/>
        <p:txBody>
          <a:bodyPr/>
          <a:lstStyle/>
          <a:p>
            <a:endParaRPr lang="en-US" dirty="0"/>
          </a:p>
        </p:txBody>
      </p:sp>
      <p:sp>
        <p:nvSpPr>
          <p:cNvPr id="9" name="Slide Number Placeholder 8">
            <a:extLst>
              <a:ext uri="{FF2B5EF4-FFF2-40B4-BE49-F238E27FC236}">
                <a16:creationId xmlns:a16="http://schemas.microsoft.com/office/drawing/2014/main" id="{A93B827B-4009-4143-A167-2AC2C612B9E0}"/>
              </a:ext>
            </a:extLst>
          </p:cNvPr>
          <p:cNvSpPr>
            <a:spLocks noGrp="1"/>
          </p:cNvSpPr>
          <p:nvPr>
            <p:ph type="sldNum" sz="quarter" idx="47"/>
          </p:nvPr>
        </p:nvSpPr>
        <p:spPr/>
        <p:txBody>
          <a:bodyPr/>
          <a:lstStyle/>
          <a:p>
            <a:fld id="{DA135043-C596-1A48-8BDA-03EB29A64DF4}" type="slidenum">
              <a:rPr lang="en-US"/>
              <a:pPr/>
              <a:t>‹#›</a:t>
            </a:fld>
            <a:endParaRPr lang="en-US" dirty="0"/>
          </a:p>
        </p:txBody>
      </p:sp>
    </p:spTree>
    <p:extLst>
      <p:ext uri="{BB962C8B-B14F-4D97-AF65-F5344CB8AC3E}">
        <p14:creationId xmlns:p14="http://schemas.microsoft.com/office/powerpoint/2010/main" val="2913665223"/>
      </p:ext>
    </p:extLst>
  </p:cSld>
  <p:clrMapOvr>
    <a:masterClrMapping/>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D34561-0681-4E2B-B130-79743C773DA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C19E50F-F813-0E46-B0DD-139F991618E4}"/>
              </a:ext>
            </a:extLst>
          </p:cNvPr>
          <p:cNvSpPr>
            <a:spLocks noGrp="1"/>
          </p:cNvSpPr>
          <p:nvPr>
            <p:ph type="title"/>
          </p:nvPr>
        </p:nvSpPr>
        <p:spPr>
          <a:xfrm>
            <a:off x="929325" y="3223246"/>
            <a:ext cx="10333351" cy="537385"/>
          </a:xfrm>
        </p:spPr>
        <p:txBody>
          <a:bodyPr anchor="t">
            <a:noAutofit/>
          </a:bodyPr>
          <a:lstStyle>
            <a:lvl1pPr algn="ctr">
              <a:defRPr sz="32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929326" y="3768007"/>
            <a:ext cx="10333349" cy="539496"/>
          </a:xfrm>
        </p:spPr>
        <p:txBody>
          <a:bodyPr>
            <a:no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grpSp>
        <p:nvGrpSpPr>
          <p:cNvPr id="5" name="Group 4">
            <a:extLst>
              <a:ext uri="{FF2B5EF4-FFF2-40B4-BE49-F238E27FC236}">
                <a16:creationId xmlns:a16="http://schemas.microsoft.com/office/drawing/2014/main" id="{89210167-FC07-4257-BD6C-BF347C91A48C}"/>
              </a:ext>
            </a:extLst>
          </p:cNvPr>
          <p:cNvGrpSpPr/>
          <p:nvPr userDrawn="1"/>
        </p:nvGrpSpPr>
        <p:grpSpPr>
          <a:xfrm>
            <a:off x="5625591" y="1900916"/>
            <a:ext cx="954371" cy="954371"/>
            <a:chOff x="5625591" y="1900916"/>
            <a:chExt cx="954371" cy="954371"/>
          </a:xfrm>
        </p:grpSpPr>
        <p:sp>
          <p:nvSpPr>
            <p:cNvPr id="9" name="Oval 8">
              <a:extLst>
                <a:ext uri="{FF2B5EF4-FFF2-40B4-BE49-F238E27FC236}">
                  <a16:creationId xmlns:a16="http://schemas.microsoft.com/office/drawing/2014/main" id="{989EA6DE-6D29-4D20-B3D5-029821251A2D}"/>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0" name="Picture 9">
              <a:extLst>
                <a:ext uri="{FF2B5EF4-FFF2-40B4-BE49-F238E27FC236}">
                  <a16:creationId xmlns:a16="http://schemas.microsoft.com/office/drawing/2014/main" id="{98E2E84E-4386-4106-8859-0CACC15B77FE}"/>
                </a:ext>
              </a:extLst>
            </p:cNvPr>
            <p:cNvPicPr>
              <a:picLocks noChangeAspect="1"/>
            </p:cNvPicPr>
            <p:nvPr userDrawn="1"/>
          </p:nvPicPr>
          <p:blipFill>
            <a:blip r:embed="rId2"/>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925288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w/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DDDA848-F86A-4B69-A832-5DC49C205D6F}"/>
              </a:ext>
            </a:extLst>
          </p:cNvPr>
          <p:cNvSpPr/>
          <p:nvPr userDrawn="1"/>
        </p:nvSpPr>
        <p:spPr>
          <a:xfrm>
            <a:off x="-1" y="894"/>
            <a:ext cx="6096001" cy="68562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6C19E50F-F813-0E46-B0DD-139F991618E4}"/>
              </a:ext>
            </a:extLst>
          </p:cNvPr>
          <p:cNvSpPr>
            <a:spLocks noGrp="1"/>
          </p:cNvSpPr>
          <p:nvPr>
            <p:ph type="title" hasCustomPrompt="1"/>
          </p:nvPr>
        </p:nvSpPr>
        <p:spPr>
          <a:xfrm>
            <a:off x="723900" y="3217738"/>
            <a:ext cx="4716740" cy="550269"/>
          </a:xfrm>
        </p:spPr>
        <p:txBody>
          <a:bodyPr anchor="t">
            <a:noAutofit/>
          </a:bodyPr>
          <a:lstStyle>
            <a:lvl1pPr algn="ctr">
              <a:defRPr sz="3200">
                <a:solidFill>
                  <a:schemeClr val="tx2"/>
                </a:solidFill>
              </a:defRPr>
            </a:lvl1pPr>
          </a:lstStyle>
          <a:p>
            <a:r>
              <a:rPr lang="en-US" dirty="0"/>
              <a:t>Add title</a:t>
            </a:r>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723900" y="3768007"/>
            <a:ext cx="4716740" cy="1046357"/>
          </a:xfrm>
        </p:spPr>
        <p:txBody>
          <a:bodyPr>
            <a:norm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sp>
        <p:nvSpPr>
          <p:cNvPr id="5" name="Picture Placeholder 4">
            <a:extLst>
              <a:ext uri="{FF2B5EF4-FFF2-40B4-BE49-F238E27FC236}">
                <a16:creationId xmlns:a16="http://schemas.microsoft.com/office/drawing/2014/main" id="{AE20D14C-55D0-4086-83C1-A2D58509AC55}"/>
              </a:ext>
            </a:extLst>
          </p:cNvPr>
          <p:cNvSpPr>
            <a:spLocks noGrp="1"/>
          </p:cNvSpPr>
          <p:nvPr>
            <p:ph type="pic" sz="quarter" idx="10" hasCustomPrompt="1"/>
          </p:nvPr>
        </p:nvSpPr>
        <p:spPr>
          <a:xfrm>
            <a:off x="6096000" y="894"/>
            <a:ext cx="6092824" cy="6856211"/>
          </a:xfrm>
        </p:spPr>
        <p:txBody>
          <a:bodyPr anchor="ctr"/>
          <a:lstStyle>
            <a:lvl1pPr marL="0" indent="0" algn="ctr">
              <a:buNone/>
              <a:defRPr>
                <a:solidFill>
                  <a:schemeClr val="tx2"/>
                </a:solidFill>
              </a:defRPr>
            </a:lvl1pPr>
          </a:lstStyle>
          <a:p>
            <a:r>
              <a:rPr lang="en-US" dirty="0"/>
              <a:t>Click icon to insert image</a:t>
            </a:r>
          </a:p>
        </p:txBody>
      </p:sp>
      <p:grpSp>
        <p:nvGrpSpPr>
          <p:cNvPr id="16" name="Group 15">
            <a:extLst>
              <a:ext uri="{FF2B5EF4-FFF2-40B4-BE49-F238E27FC236}">
                <a16:creationId xmlns:a16="http://schemas.microsoft.com/office/drawing/2014/main" id="{7EEAEBB0-A9EF-4629-A74D-A6299E135D13}"/>
              </a:ext>
            </a:extLst>
          </p:cNvPr>
          <p:cNvGrpSpPr/>
          <p:nvPr userDrawn="1"/>
        </p:nvGrpSpPr>
        <p:grpSpPr>
          <a:xfrm>
            <a:off x="2570814" y="1900916"/>
            <a:ext cx="954371" cy="954371"/>
            <a:chOff x="5625591" y="1900916"/>
            <a:chExt cx="954371" cy="954371"/>
          </a:xfrm>
        </p:grpSpPr>
        <p:sp>
          <p:nvSpPr>
            <p:cNvPr id="17" name="Oval 16">
              <a:extLst>
                <a:ext uri="{FF2B5EF4-FFF2-40B4-BE49-F238E27FC236}">
                  <a16:creationId xmlns:a16="http://schemas.microsoft.com/office/drawing/2014/main" id="{8E6A1AF4-D111-497C-91A2-C508E8673407}"/>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8" name="Picture 17">
              <a:extLst>
                <a:ext uri="{FF2B5EF4-FFF2-40B4-BE49-F238E27FC236}">
                  <a16:creationId xmlns:a16="http://schemas.microsoft.com/office/drawing/2014/main" id="{2FB1BD11-062F-4425-A925-621810D2C9C5}"/>
                </a:ext>
              </a:extLst>
            </p:cNvPr>
            <p:cNvPicPr>
              <a:picLocks noChangeAspect="1"/>
            </p:cNvPicPr>
            <p:nvPr userDrawn="1"/>
          </p:nvPicPr>
          <p:blipFill>
            <a:blip r:embed="rId2"/>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144488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B2C7F7-1B07-4F56-8EB7-0A869CE92866}"/>
              </a:ext>
            </a:extLst>
          </p:cNvPr>
          <p:cNvSpPr/>
          <p:nvPr userDrawn="1"/>
        </p:nvSpPr>
        <p:spPr>
          <a:xfrm>
            <a:off x="0" y="0"/>
            <a:ext cx="12192000" cy="685800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500" b="1" dirty="0">
                <a:solidFill>
                  <a:schemeClr val="tx2"/>
                </a:solidFill>
              </a:rPr>
              <a:t>Do not use slide layouts after this</a:t>
            </a:r>
          </a:p>
        </p:txBody>
      </p:sp>
      <p:sp>
        <p:nvSpPr>
          <p:cNvPr id="7" name="TextBox 6">
            <a:extLst>
              <a:ext uri="{FF2B5EF4-FFF2-40B4-BE49-F238E27FC236}">
                <a16:creationId xmlns:a16="http://schemas.microsoft.com/office/drawing/2014/main" id="{B826545F-C200-4030-B63A-BBD4CEB5C28D}"/>
              </a:ext>
            </a:extLst>
          </p:cNvPr>
          <p:cNvSpPr txBox="1"/>
          <p:nvPr userDrawn="1"/>
        </p:nvSpPr>
        <p:spPr>
          <a:xfrm>
            <a:off x="4447151" y="6020345"/>
            <a:ext cx="3297698" cy="276999"/>
          </a:xfrm>
          <a:prstGeom prst="rect">
            <a:avLst/>
          </a:prstGeom>
          <a:noFill/>
        </p:spPr>
        <p:txBody>
          <a:bodyPr wrap="none" rtlCol="0">
            <a:spAutoFit/>
          </a:bodyPr>
          <a:lstStyle/>
          <a:p>
            <a:pPr algn="ctr"/>
            <a:r>
              <a:rPr lang="en-US" sz="1200" dirty="0"/>
              <a:t>This is a placeholder slide layout  - do not use</a:t>
            </a:r>
          </a:p>
        </p:txBody>
      </p:sp>
    </p:spTree>
    <p:extLst>
      <p:ext uri="{BB962C8B-B14F-4D97-AF65-F5344CB8AC3E}">
        <p14:creationId xmlns:p14="http://schemas.microsoft.com/office/powerpoint/2010/main" val="31312395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31600" y="975360"/>
            <a:ext cx="10850801" cy="5242560"/>
          </a:xfrm>
          <a:prstGeom prst="rect">
            <a:avLst/>
          </a:prstGeom>
        </p:spPr>
        <p:txBody>
          <a:bodyPr>
            <a:normAutofit/>
          </a:bodyPr>
          <a:lstStyle>
            <a:lvl1pPr marL="243834" indent="-243834">
              <a:lnSpc>
                <a:spcPct val="100000"/>
              </a:lnSpc>
              <a:buSzPct val="90000"/>
              <a:buFontTx/>
              <a:buBlip>
                <a:blip r:embed="rId2"/>
              </a:buBlip>
              <a:defRPr sz="2400">
                <a:solidFill>
                  <a:srgbClr val="00445E"/>
                </a:solidFill>
                <a:latin typeface="Trebuchet MS" charset="0"/>
                <a:ea typeface="Trebuchet MS" charset="0"/>
                <a:cs typeface="Trebuchet MS" charset="0"/>
              </a:defRPr>
            </a:lvl1pPr>
            <a:lvl2pPr marL="487668" indent="-243834" defTabSz="182875">
              <a:lnSpc>
                <a:spcPct val="100000"/>
              </a:lnSpc>
              <a:buSzPct val="90000"/>
              <a:buFontTx/>
              <a:buBlip>
                <a:blip r:embed="rId3"/>
              </a:buBlip>
              <a:defRPr sz="2133">
                <a:solidFill>
                  <a:srgbClr val="00445E"/>
                </a:solidFill>
                <a:latin typeface="Trebuchet MS" charset="0"/>
                <a:ea typeface="Trebuchet MS" charset="0"/>
                <a:cs typeface="Trebuchet MS" charset="0"/>
              </a:defRPr>
            </a:lvl2pPr>
            <a:lvl3pPr marL="731502" indent="-243834">
              <a:lnSpc>
                <a:spcPct val="90000"/>
              </a:lnSpc>
              <a:defRPr sz="1867">
                <a:solidFill>
                  <a:srgbClr val="00445E"/>
                </a:solidFill>
                <a:latin typeface="Trebuchet MS" charset="0"/>
                <a:ea typeface="Trebuchet MS" charset="0"/>
                <a:cs typeface="Trebuchet MS" charset="0"/>
              </a:defRPr>
            </a:lvl3pPr>
            <a:lvl4pPr marL="975336" indent="-243834">
              <a:lnSpc>
                <a:spcPct val="90000"/>
              </a:lnSpc>
              <a:defRPr sz="1600">
                <a:solidFill>
                  <a:srgbClr val="00445E"/>
                </a:solidFill>
                <a:latin typeface="Trebuchet MS" charset="0"/>
                <a:ea typeface="Trebuchet MS" charset="0"/>
                <a:cs typeface="Trebuchet MS" charset="0"/>
              </a:defRPr>
            </a:lvl4pPr>
            <a:lvl5pPr marL="1219170" indent="-243834">
              <a:lnSpc>
                <a:spcPct val="90000"/>
              </a:lnSpc>
              <a:defRPr sz="1600">
                <a:solidFill>
                  <a:srgbClr val="00445E"/>
                </a:solidFill>
                <a:latin typeface="Trebuchet MS" charset="0"/>
                <a:ea typeface="Trebuchet MS" charset="0"/>
                <a:cs typeface="Trebuchet MS" charset="0"/>
              </a:defRPr>
            </a:lvl5pPr>
            <a:lvl6pPr marL="1463003" indent="-243834">
              <a:lnSpc>
                <a:spcPct val="90000"/>
              </a:lnSpc>
              <a:defRPr sz="1600"/>
            </a:lvl6pPr>
            <a:lvl7pPr marL="1706837" indent="-243834">
              <a:lnSpc>
                <a:spcPct val="90000"/>
              </a:lnSpc>
              <a:defRPr sz="1600" baseline="0"/>
            </a:lvl7pPr>
            <a:lvl8pPr marL="1950671" indent="-243834">
              <a:lnSpc>
                <a:spcPct val="90000"/>
              </a:lnSpc>
              <a:defRPr sz="1600" baseline="0"/>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6721" y="332905"/>
            <a:ext cx="304879" cy="304800"/>
          </a:xfrm>
          <a:prstGeom prst="rect">
            <a:avLst/>
          </a:prstGeom>
        </p:spPr>
      </p:pic>
      <p:sp>
        <p:nvSpPr>
          <p:cNvPr id="9" name="Title 1"/>
          <p:cNvSpPr>
            <a:spLocks noGrp="1"/>
          </p:cNvSpPr>
          <p:nvPr>
            <p:ph type="title"/>
          </p:nvPr>
        </p:nvSpPr>
        <p:spPr>
          <a:xfrm>
            <a:off x="731520" y="121920"/>
            <a:ext cx="10850880" cy="726771"/>
          </a:xfrm>
          <a:prstGeom prst="rect">
            <a:avLst/>
          </a:prstGeom>
        </p:spPr>
        <p:txBody>
          <a:bodyPr anchor="ctr" anchorCtr="0">
            <a:normAutofit/>
          </a:bodyPr>
          <a:lstStyle>
            <a:lvl1pPr>
              <a:defRPr sz="3200" b="1">
                <a:solidFill>
                  <a:srgbClr val="00445E"/>
                </a:solidFill>
                <a:latin typeface="Tahoma" charset="0"/>
                <a:ea typeface="Tahoma" charset="0"/>
                <a:cs typeface="Tahoma" charset="0"/>
              </a:defRPr>
            </a:lvl1pPr>
          </a:lstStyle>
          <a:p>
            <a:r>
              <a:rPr lang="en-US"/>
              <a:t>Click to edit Master title style</a:t>
            </a:r>
            <a:endParaRPr lang="en-US" dirty="0"/>
          </a:p>
        </p:txBody>
      </p:sp>
    </p:spTree>
    <p:extLst>
      <p:ext uri="{BB962C8B-B14F-4D97-AF65-F5344CB8AC3E}">
        <p14:creationId xmlns:p14="http://schemas.microsoft.com/office/powerpoint/2010/main" val="3382932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Double Content">
    <p:spTree>
      <p:nvGrpSpPr>
        <p:cNvPr id="1" name=""/>
        <p:cNvGrpSpPr/>
        <p:nvPr/>
      </p:nvGrpSpPr>
      <p:grpSpPr>
        <a:xfrm>
          <a:off x="0" y="0"/>
          <a:ext cx="0" cy="0"/>
          <a:chOff x="0" y="0"/>
          <a:chExt cx="0" cy="0"/>
        </a:xfrm>
      </p:grpSpPr>
      <p:sp>
        <p:nvSpPr>
          <p:cNvPr id="14" name="Content Placeholder 2"/>
          <p:cNvSpPr>
            <a:spLocks noGrp="1"/>
          </p:cNvSpPr>
          <p:nvPr>
            <p:ph idx="1"/>
          </p:nvPr>
        </p:nvSpPr>
        <p:spPr>
          <a:xfrm>
            <a:off x="731600" y="975360"/>
            <a:ext cx="5364480" cy="5242560"/>
          </a:xfrm>
          <a:prstGeom prst="rect">
            <a:avLst/>
          </a:prstGeom>
        </p:spPr>
        <p:txBody>
          <a:bodyPr>
            <a:normAutofit/>
          </a:bodyPr>
          <a:lstStyle>
            <a:lvl1pPr marL="243834" indent="-243834">
              <a:lnSpc>
                <a:spcPct val="100000"/>
              </a:lnSpc>
              <a:buSzPct val="90000"/>
              <a:buFontTx/>
              <a:buBlip>
                <a:blip r:embed="rId2"/>
              </a:buBlip>
              <a:defRPr sz="2400">
                <a:solidFill>
                  <a:srgbClr val="00445E"/>
                </a:solidFill>
                <a:latin typeface="Trebuchet MS" charset="0"/>
                <a:ea typeface="Trebuchet MS" charset="0"/>
                <a:cs typeface="Trebuchet MS" charset="0"/>
              </a:defRPr>
            </a:lvl1pPr>
            <a:lvl2pPr marL="487668" indent="-243834" defTabSz="182875">
              <a:lnSpc>
                <a:spcPct val="100000"/>
              </a:lnSpc>
              <a:buSzPct val="90000"/>
              <a:buFontTx/>
              <a:buBlip>
                <a:blip r:embed="rId3"/>
              </a:buBlip>
              <a:defRPr sz="2133">
                <a:solidFill>
                  <a:srgbClr val="00445E"/>
                </a:solidFill>
                <a:latin typeface="Trebuchet MS" charset="0"/>
                <a:ea typeface="Trebuchet MS" charset="0"/>
                <a:cs typeface="Trebuchet MS" charset="0"/>
              </a:defRPr>
            </a:lvl2pPr>
            <a:lvl3pPr marL="731502" indent="-243834">
              <a:lnSpc>
                <a:spcPct val="90000"/>
              </a:lnSpc>
              <a:defRPr sz="1867">
                <a:solidFill>
                  <a:srgbClr val="00445E"/>
                </a:solidFill>
                <a:latin typeface="Trebuchet MS" charset="0"/>
                <a:ea typeface="Trebuchet MS" charset="0"/>
                <a:cs typeface="Trebuchet MS" charset="0"/>
              </a:defRPr>
            </a:lvl3pPr>
            <a:lvl4pPr marL="975336" indent="-243834">
              <a:lnSpc>
                <a:spcPct val="90000"/>
              </a:lnSpc>
              <a:defRPr sz="1600">
                <a:solidFill>
                  <a:srgbClr val="00445E"/>
                </a:solidFill>
                <a:latin typeface="Trebuchet MS" charset="0"/>
                <a:ea typeface="Trebuchet MS" charset="0"/>
                <a:cs typeface="Trebuchet MS" charset="0"/>
              </a:defRPr>
            </a:lvl4pPr>
            <a:lvl5pPr marL="1219170" indent="-243834">
              <a:lnSpc>
                <a:spcPct val="90000"/>
              </a:lnSpc>
              <a:defRPr sz="1600">
                <a:solidFill>
                  <a:srgbClr val="00445E"/>
                </a:solidFill>
                <a:latin typeface="Trebuchet MS" charset="0"/>
                <a:ea typeface="Trebuchet MS" charset="0"/>
                <a:cs typeface="Trebuchet MS" charset="0"/>
              </a:defRPr>
            </a:lvl5pPr>
            <a:lvl6pPr marL="1463003" indent="-243834">
              <a:lnSpc>
                <a:spcPct val="90000"/>
              </a:lnSpc>
              <a:defRPr sz="1600"/>
            </a:lvl6pPr>
            <a:lvl7pPr marL="1706837" indent="-243834">
              <a:lnSpc>
                <a:spcPct val="90000"/>
              </a:lnSpc>
              <a:defRPr sz="1600" baseline="0"/>
            </a:lvl7pPr>
            <a:lvl8pPr marL="1950671" indent="-243834">
              <a:lnSpc>
                <a:spcPct val="90000"/>
              </a:lnSpc>
              <a:defRPr sz="1600" baseline="0"/>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0"/>
          </p:nvPr>
        </p:nvSpPr>
        <p:spPr>
          <a:xfrm>
            <a:off x="6217920" y="975360"/>
            <a:ext cx="5364480" cy="5242560"/>
          </a:xfrm>
          <a:prstGeom prst="rect">
            <a:avLst/>
          </a:prstGeom>
        </p:spPr>
        <p:txBody>
          <a:bodyPr>
            <a:normAutofit/>
          </a:bodyPr>
          <a:lstStyle>
            <a:lvl1pPr marL="243834" indent="-243834">
              <a:lnSpc>
                <a:spcPct val="100000"/>
              </a:lnSpc>
              <a:buSzPct val="90000"/>
              <a:buFontTx/>
              <a:buBlip>
                <a:blip r:embed="rId2"/>
              </a:buBlip>
              <a:defRPr sz="2400">
                <a:solidFill>
                  <a:srgbClr val="00445E"/>
                </a:solidFill>
                <a:latin typeface="Trebuchet MS" charset="0"/>
                <a:ea typeface="Trebuchet MS" charset="0"/>
                <a:cs typeface="Trebuchet MS" charset="0"/>
              </a:defRPr>
            </a:lvl1pPr>
            <a:lvl2pPr marL="487668" indent="-243834" defTabSz="182875">
              <a:lnSpc>
                <a:spcPct val="100000"/>
              </a:lnSpc>
              <a:buSzPct val="90000"/>
              <a:buFontTx/>
              <a:buBlip>
                <a:blip r:embed="rId3"/>
              </a:buBlip>
              <a:defRPr sz="2133">
                <a:solidFill>
                  <a:srgbClr val="00445E"/>
                </a:solidFill>
                <a:latin typeface="Trebuchet MS" charset="0"/>
                <a:ea typeface="Trebuchet MS" charset="0"/>
                <a:cs typeface="Trebuchet MS" charset="0"/>
              </a:defRPr>
            </a:lvl2pPr>
            <a:lvl3pPr marL="731502" indent="-243834">
              <a:lnSpc>
                <a:spcPct val="90000"/>
              </a:lnSpc>
              <a:defRPr sz="1867">
                <a:solidFill>
                  <a:srgbClr val="00445E"/>
                </a:solidFill>
                <a:latin typeface="Trebuchet MS" charset="0"/>
                <a:ea typeface="Trebuchet MS" charset="0"/>
                <a:cs typeface="Trebuchet MS" charset="0"/>
              </a:defRPr>
            </a:lvl3pPr>
            <a:lvl4pPr marL="975336" indent="-243834">
              <a:lnSpc>
                <a:spcPct val="90000"/>
              </a:lnSpc>
              <a:defRPr sz="1600">
                <a:solidFill>
                  <a:srgbClr val="00445E"/>
                </a:solidFill>
                <a:latin typeface="Trebuchet MS" charset="0"/>
                <a:ea typeface="Trebuchet MS" charset="0"/>
                <a:cs typeface="Trebuchet MS" charset="0"/>
              </a:defRPr>
            </a:lvl4pPr>
            <a:lvl5pPr marL="1219170" indent="-243834">
              <a:lnSpc>
                <a:spcPct val="90000"/>
              </a:lnSpc>
              <a:defRPr sz="1600">
                <a:solidFill>
                  <a:srgbClr val="00445E"/>
                </a:solidFill>
                <a:latin typeface="Trebuchet MS" charset="0"/>
                <a:ea typeface="Trebuchet MS" charset="0"/>
                <a:cs typeface="Trebuchet MS" charset="0"/>
              </a:defRPr>
            </a:lvl5pPr>
            <a:lvl6pPr marL="1463003" indent="-243834">
              <a:lnSpc>
                <a:spcPct val="90000"/>
              </a:lnSpc>
              <a:defRPr sz="1600"/>
            </a:lvl6pPr>
            <a:lvl7pPr marL="1706837" indent="-243834">
              <a:lnSpc>
                <a:spcPct val="90000"/>
              </a:lnSpc>
              <a:defRPr sz="1600" baseline="0"/>
            </a:lvl7pPr>
            <a:lvl8pPr marL="1950671" indent="-243834">
              <a:lnSpc>
                <a:spcPct val="90000"/>
              </a:lnSpc>
              <a:defRPr sz="1600" baseline="0"/>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26721" y="332905"/>
            <a:ext cx="304879" cy="304800"/>
          </a:xfrm>
          <a:prstGeom prst="rect">
            <a:avLst/>
          </a:prstGeom>
        </p:spPr>
      </p:pic>
      <p:sp>
        <p:nvSpPr>
          <p:cNvPr id="10" name="Title 1"/>
          <p:cNvSpPr>
            <a:spLocks noGrp="1"/>
          </p:cNvSpPr>
          <p:nvPr>
            <p:ph type="title"/>
          </p:nvPr>
        </p:nvSpPr>
        <p:spPr>
          <a:xfrm>
            <a:off x="731520" y="121920"/>
            <a:ext cx="10850880" cy="726771"/>
          </a:xfrm>
          <a:prstGeom prst="rect">
            <a:avLst/>
          </a:prstGeom>
        </p:spPr>
        <p:txBody>
          <a:bodyPr anchor="ctr" anchorCtr="0">
            <a:normAutofit/>
          </a:bodyPr>
          <a:lstStyle>
            <a:lvl1pPr>
              <a:defRPr sz="3200" b="1">
                <a:solidFill>
                  <a:srgbClr val="00445E"/>
                </a:solidFill>
                <a:latin typeface="Tahoma" charset="0"/>
                <a:ea typeface="Tahoma" charset="0"/>
                <a:cs typeface="Tahoma" charset="0"/>
              </a:defRPr>
            </a:lvl1pPr>
          </a:lstStyle>
          <a:p>
            <a:r>
              <a:rPr lang="en-US"/>
              <a:t>Click to edit Master title style</a:t>
            </a:r>
            <a:endParaRPr lang="en-US" dirty="0"/>
          </a:p>
        </p:txBody>
      </p:sp>
    </p:spTree>
    <p:extLst>
      <p:ext uri="{BB962C8B-B14F-4D97-AF65-F5344CB8AC3E}">
        <p14:creationId xmlns:p14="http://schemas.microsoft.com/office/powerpoint/2010/main" val="3717566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A654-5A66-DB47-A306-CA1C8D90C406}"/>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D1169908-6866-BF45-A163-2917514D7756}"/>
              </a:ext>
            </a:extLst>
          </p:cNvPr>
          <p:cNvSpPr>
            <a:spLocks noGrp="1"/>
          </p:cNvSpPr>
          <p:nvPr>
            <p:ph type="dt" sz="half" idx="10"/>
          </p:nvPr>
        </p:nvSpPr>
        <p:spPr/>
        <p:txBody>
          <a:bodyPr/>
          <a:lstStyle/>
          <a:p>
            <a:fld id="{2A0070D2-5A30-47BC-889E-F074FC1575FD}" type="datetime1">
              <a:rPr lang="en-US"/>
              <a:t>8/30/2023</a:t>
            </a:fld>
            <a:endParaRPr lang="en-US" dirty="0"/>
          </a:p>
        </p:txBody>
      </p:sp>
      <p:sp>
        <p:nvSpPr>
          <p:cNvPr id="5" name="Footer Placeholder 4">
            <a:extLst>
              <a:ext uri="{FF2B5EF4-FFF2-40B4-BE49-F238E27FC236}">
                <a16:creationId xmlns:a16="http://schemas.microsoft.com/office/drawing/2014/main" id="{4FE15BA4-9DA7-724F-8EC0-695948888FD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575D79-B164-A94A-9F5D-872532B3A4DA}"/>
              </a:ext>
            </a:extLst>
          </p:cNvPr>
          <p:cNvSpPr>
            <a:spLocks noGrp="1"/>
          </p:cNvSpPr>
          <p:nvPr>
            <p:ph type="sldNum" sz="quarter" idx="12"/>
          </p:nvPr>
        </p:nvSpPr>
        <p:spPr/>
        <p:txBody>
          <a:bodyPr/>
          <a:lstStyle/>
          <a:p>
            <a:fld id="{DA135043-C596-1A48-8BDA-03EB29A64DF4}" type="slidenum">
              <a:rPr lang="en-US"/>
              <a:t>‹#›</a:t>
            </a:fld>
            <a:endParaRPr lang="en-US" dirty="0"/>
          </a:p>
        </p:txBody>
      </p:sp>
      <p:sp>
        <p:nvSpPr>
          <p:cNvPr id="7" name="Rectangle 6" hidden="1">
            <a:extLst>
              <a:ext uri="{FF2B5EF4-FFF2-40B4-BE49-F238E27FC236}">
                <a16:creationId xmlns:a16="http://schemas.microsoft.com/office/drawing/2014/main" id="{8CEB951C-E846-4E05-9350-2D86FA13F8FA}"/>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id="{15F528EC-DA70-F144-9189-347F3B9E5B1B}"/>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532935"/>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lank (no gradient)">
    <p:spTree>
      <p:nvGrpSpPr>
        <p:cNvPr id="1" name=""/>
        <p:cNvGrpSpPr/>
        <p:nvPr/>
      </p:nvGrpSpPr>
      <p:grpSpPr>
        <a:xfrm>
          <a:off x="0" y="0"/>
          <a:ext cx="0" cy="0"/>
          <a:chOff x="0" y="0"/>
          <a:chExt cx="0" cy="0"/>
        </a:xfrm>
      </p:grpSpPr>
      <p:sp>
        <p:nvSpPr>
          <p:cNvPr id="2" name="Rectangle 1"/>
          <p:cNvSpPr/>
          <p:nvPr userDrawn="1"/>
        </p:nvSpPr>
        <p:spPr>
          <a:xfrm>
            <a:off x="0" y="0"/>
            <a:ext cx="12192000" cy="6343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Tree>
    <p:extLst>
      <p:ext uri="{BB962C8B-B14F-4D97-AF65-F5344CB8AC3E}">
        <p14:creationId xmlns:p14="http://schemas.microsoft.com/office/powerpoint/2010/main" val="39675345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mment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58EE8-51DA-439F-8424-CB384B4374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E4FD04-ABE3-42D4-9E42-83FCD857202F}"/>
              </a:ext>
            </a:extLst>
          </p:cNvPr>
          <p:cNvSpPr>
            <a:spLocks noGrp="1"/>
          </p:cNvSpPr>
          <p:nvPr>
            <p:ph type="dt" sz="half" idx="10"/>
          </p:nvPr>
        </p:nvSpPr>
        <p:spPr/>
        <p:txBody>
          <a:bodyPr/>
          <a:lstStyle/>
          <a:p>
            <a:fld id="{0CA7E49E-8520-48E1-8F47-DB7F5A59BF68}" type="datetime1">
              <a:rPr lang="en-US"/>
              <a:t>8/30/2023</a:t>
            </a:fld>
            <a:endParaRPr lang="en-US" dirty="0"/>
          </a:p>
        </p:txBody>
      </p:sp>
      <p:sp>
        <p:nvSpPr>
          <p:cNvPr id="4" name="Footer Placeholder 3">
            <a:extLst>
              <a:ext uri="{FF2B5EF4-FFF2-40B4-BE49-F238E27FC236}">
                <a16:creationId xmlns:a16="http://schemas.microsoft.com/office/drawing/2014/main" id="{094B1AC1-114C-47C8-8B05-E7A4B92F385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95B66EA-3775-4C5D-A804-019F66978B8C}"/>
              </a:ext>
            </a:extLst>
          </p:cNvPr>
          <p:cNvSpPr>
            <a:spLocks noGrp="1"/>
          </p:cNvSpPr>
          <p:nvPr>
            <p:ph type="sldNum" sz="quarter" idx="12"/>
          </p:nvPr>
        </p:nvSpPr>
        <p:spPr/>
        <p:txBody>
          <a:bodyPr/>
          <a:lstStyle/>
          <a:p>
            <a:fld id="{DA135043-C596-1A48-8BDA-03EB29A64DF4}" type="slidenum">
              <a:rPr lang="en-US"/>
              <a:pPr/>
              <a:t>‹#›</a:t>
            </a:fld>
            <a:endParaRPr lang="en-US" dirty="0"/>
          </a:p>
        </p:txBody>
      </p:sp>
      <p:sp>
        <p:nvSpPr>
          <p:cNvPr id="10" name="Text Placeholder 9">
            <a:extLst>
              <a:ext uri="{FF2B5EF4-FFF2-40B4-BE49-F238E27FC236}">
                <a16:creationId xmlns:a16="http://schemas.microsoft.com/office/drawing/2014/main" id="{E68FCAA4-2BEA-4E30-95B2-27477AD99DA3}"/>
              </a:ext>
            </a:extLst>
          </p:cNvPr>
          <p:cNvSpPr>
            <a:spLocks noGrp="1"/>
          </p:cNvSpPr>
          <p:nvPr>
            <p:ph type="body" sz="quarter" idx="14" hasCustomPrompt="1"/>
          </p:nvPr>
        </p:nvSpPr>
        <p:spPr>
          <a:xfrm>
            <a:off x="414731" y="6487405"/>
            <a:ext cx="11062326" cy="229289"/>
          </a:xfrm>
        </p:spPr>
        <p:txBody>
          <a:bodyPr anchor="ctr">
            <a:noAutofit/>
          </a:bodyPr>
          <a:lstStyle>
            <a:lvl1pPr marL="0" indent="0">
              <a:buNone/>
              <a:defRPr sz="900"/>
            </a:lvl1pPr>
          </a:lstStyle>
          <a:p>
            <a:pPr lvl="0"/>
            <a:r>
              <a:rPr lang="en-US" dirty="0"/>
              <a:t>Click to insert source</a:t>
            </a:r>
          </a:p>
        </p:txBody>
      </p:sp>
      <p:sp>
        <p:nvSpPr>
          <p:cNvPr id="8" name="Text Placeholder 2">
            <a:extLst>
              <a:ext uri="{FF2B5EF4-FFF2-40B4-BE49-F238E27FC236}">
                <a16:creationId xmlns:a16="http://schemas.microsoft.com/office/drawing/2014/main" id="{80574371-2155-7B46-B76D-196C2BBAF7E1}"/>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2993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mment &amp; Conten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3"/>
            <a:ext cx="10736263" cy="4620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a:t>8/30/2023</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97157114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mment ">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a:t>8/30/2023</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58538807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mment, Content &amp; Takeawa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4"/>
            <a:ext cx="10736263" cy="41620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559A12B2-10CC-4DF5-85A0-4C50A7F73830}"/>
              </a:ext>
            </a:extLst>
          </p:cNvPr>
          <p:cNvSpPr>
            <a:spLocks noGrp="1"/>
          </p:cNvSpPr>
          <p:nvPr>
            <p:ph type="body" sz="quarter" idx="12"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7" name="Date Placeholder 6">
            <a:extLst>
              <a:ext uri="{FF2B5EF4-FFF2-40B4-BE49-F238E27FC236}">
                <a16:creationId xmlns:a16="http://schemas.microsoft.com/office/drawing/2014/main" id="{7CDC5C61-014B-44AC-BEC8-4673574A5BD7}"/>
              </a:ext>
            </a:extLst>
          </p:cNvPr>
          <p:cNvSpPr>
            <a:spLocks noGrp="1"/>
          </p:cNvSpPr>
          <p:nvPr>
            <p:ph type="dt" sz="half" idx="13"/>
          </p:nvPr>
        </p:nvSpPr>
        <p:spPr/>
        <p:txBody>
          <a:bodyPr/>
          <a:lstStyle/>
          <a:p>
            <a:fld id="{0CA7E49E-8520-48E1-8F47-DB7F5A59BF68}" type="datetime1">
              <a:rPr lang="en-US"/>
              <a:t>8/30/2023</a:t>
            </a:fld>
            <a:endParaRPr lang="en-US" dirty="0"/>
          </a:p>
        </p:txBody>
      </p:sp>
      <p:sp>
        <p:nvSpPr>
          <p:cNvPr id="8" name="Footer Placeholder 7">
            <a:extLst>
              <a:ext uri="{FF2B5EF4-FFF2-40B4-BE49-F238E27FC236}">
                <a16:creationId xmlns:a16="http://schemas.microsoft.com/office/drawing/2014/main" id="{E3FAED47-4BF3-4E47-901A-B7F7785EFA48}"/>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86BB173D-9D21-4D8B-8CC4-23166ACB2E20}"/>
              </a:ext>
            </a:extLst>
          </p:cNvPr>
          <p:cNvSpPr>
            <a:spLocks noGrp="1"/>
          </p:cNvSpPr>
          <p:nvPr>
            <p:ph type="sldNum" sz="quarter" idx="15"/>
          </p:nvPr>
        </p:nvSpPr>
        <p:spPr/>
        <p:txBody>
          <a:bodyPr/>
          <a:lstStyle/>
          <a:p>
            <a:fld id="{DA135043-C596-1A48-8BDA-03EB29A64DF4}" type="slidenum">
              <a:rPr lang="en-US"/>
              <a:pPr/>
              <a:t>‹#›</a:t>
            </a:fld>
            <a:endParaRPr lang="en-US" dirty="0"/>
          </a:p>
        </p:txBody>
      </p:sp>
    </p:spTree>
    <p:extLst>
      <p:ext uri="{BB962C8B-B14F-4D97-AF65-F5344CB8AC3E}">
        <p14:creationId xmlns:p14="http://schemas.microsoft.com/office/powerpoint/2010/main" val="363482135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a:t>8/30/2023</a:t>
            </a:fld>
            <a:endParaRPr lang="en-US" dirty="0"/>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a:t>‹#›</a:t>
            </a:fld>
            <a:endParaRPr lang="en-US" dirty="0"/>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780052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a:t>8/30/2023</a:t>
            </a:fld>
            <a:endParaRPr lang="en-US" dirty="0"/>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a:t>‹#›</a:t>
            </a:fld>
            <a:endParaRPr lang="en-US" dirty="0"/>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9">
            <a:extLst>
              <a:ext uri="{FF2B5EF4-FFF2-40B4-BE49-F238E27FC236}">
                <a16:creationId xmlns:a16="http://schemas.microsoft.com/office/drawing/2014/main" id="{D2EA2D54-068C-4D76-A569-C2F6D589C735}"/>
              </a:ext>
            </a:extLst>
          </p:cNvPr>
          <p:cNvSpPr>
            <a:spLocks noGrp="1"/>
          </p:cNvSpPr>
          <p:nvPr>
            <p:ph type="body" sz="quarter" idx="14"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83555181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FB66FA-9E82-8F4C-902B-D968EBD0072D}"/>
              </a:ext>
            </a:extLst>
          </p:cNvPr>
          <p:cNvSpPr>
            <a:spLocks noGrp="1"/>
          </p:cNvSpPr>
          <p:nvPr>
            <p:ph type="body" idx="1"/>
          </p:nvPr>
        </p:nvSpPr>
        <p:spPr>
          <a:xfrm>
            <a:off x="726569"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4" name="Content Placeholder 3">
            <a:extLst>
              <a:ext uri="{FF2B5EF4-FFF2-40B4-BE49-F238E27FC236}">
                <a16:creationId xmlns:a16="http://schemas.microsoft.com/office/drawing/2014/main" id="{53E423E8-A085-594A-8DB0-B04EE30ADC4D}"/>
              </a:ext>
            </a:extLst>
          </p:cNvPr>
          <p:cNvSpPr>
            <a:spLocks noGrp="1"/>
          </p:cNvSpPr>
          <p:nvPr>
            <p:ph sz="half" idx="2"/>
          </p:nvPr>
        </p:nvSpPr>
        <p:spPr>
          <a:xfrm>
            <a:off x="726569"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53A97721-B828-5F49-9ECE-3D1CE066C8DF}"/>
              </a:ext>
            </a:extLst>
          </p:cNvPr>
          <p:cNvSpPr>
            <a:spLocks noGrp="1"/>
          </p:cNvSpPr>
          <p:nvPr>
            <p:ph type="body" sz="quarter" idx="3"/>
          </p:nvPr>
        </p:nvSpPr>
        <p:spPr>
          <a:xfrm>
            <a:off x="6187631"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6" name="Content Placeholder 5">
            <a:extLst>
              <a:ext uri="{FF2B5EF4-FFF2-40B4-BE49-F238E27FC236}">
                <a16:creationId xmlns:a16="http://schemas.microsoft.com/office/drawing/2014/main" id="{FA9BD7FE-E79D-8C4D-8814-8B397878DBF5}"/>
              </a:ext>
            </a:extLst>
          </p:cNvPr>
          <p:cNvSpPr>
            <a:spLocks noGrp="1"/>
          </p:cNvSpPr>
          <p:nvPr>
            <p:ph sz="quarter" idx="4"/>
          </p:nvPr>
        </p:nvSpPr>
        <p:spPr>
          <a:xfrm>
            <a:off x="6187631"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47A3AA7-B6AF-F040-9CFC-AF513FBC68DF}"/>
              </a:ext>
            </a:extLst>
          </p:cNvPr>
          <p:cNvSpPr>
            <a:spLocks noGrp="1"/>
          </p:cNvSpPr>
          <p:nvPr>
            <p:ph type="dt" sz="half" idx="10"/>
          </p:nvPr>
        </p:nvSpPr>
        <p:spPr/>
        <p:txBody>
          <a:bodyPr/>
          <a:lstStyle/>
          <a:p>
            <a:fld id="{54837CB5-678C-49D9-AAD0-CEAADF85A933}" type="datetime1">
              <a:rPr lang="en-US"/>
              <a:t>8/30/2023</a:t>
            </a:fld>
            <a:endParaRPr lang="en-US" dirty="0"/>
          </a:p>
        </p:txBody>
      </p:sp>
      <p:sp>
        <p:nvSpPr>
          <p:cNvPr id="8" name="Footer Placeholder 7">
            <a:extLst>
              <a:ext uri="{FF2B5EF4-FFF2-40B4-BE49-F238E27FC236}">
                <a16:creationId xmlns:a16="http://schemas.microsoft.com/office/drawing/2014/main" id="{70C5EF70-7E06-D24A-9577-EFEF1CCFECA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9B6EAC-EAE4-D54B-89FA-D3C309D978F8}"/>
              </a:ext>
            </a:extLst>
          </p:cNvPr>
          <p:cNvSpPr>
            <a:spLocks noGrp="1"/>
          </p:cNvSpPr>
          <p:nvPr>
            <p:ph type="sldNum" sz="quarter" idx="12"/>
          </p:nvPr>
        </p:nvSpPr>
        <p:spPr/>
        <p:txBody>
          <a:bodyPr/>
          <a:lstStyle/>
          <a:p>
            <a:fld id="{DA135043-C596-1A48-8BDA-03EB29A64DF4}" type="slidenum">
              <a:rPr lang="en-US"/>
              <a:t>‹#›</a:t>
            </a:fld>
            <a:endParaRPr lang="en-US" dirty="0"/>
          </a:p>
        </p:txBody>
      </p:sp>
      <p:sp>
        <p:nvSpPr>
          <p:cNvPr id="10" name="Title 9">
            <a:extLst>
              <a:ext uri="{FF2B5EF4-FFF2-40B4-BE49-F238E27FC236}">
                <a16:creationId xmlns:a16="http://schemas.microsoft.com/office/drawing/2014/main" id="{94433DBB-F96C-4821-AF9A-C30C09039B1E}"/>
              </a:ext>
            </a:extLst>
          </p:cNvPr>
          <p:cNvSpPr>
            <a:spLocks noGrp="1"/>
          </p:cNvSpPr>
          <p:nvPr>
            <p:ph type="title"/>
          </p:nvPr>
        </p:nvSpPr>
        <p:spPr/>
        <p:txBody>
          <a:bodyPr/>
          <a:lstStyle/>
          <a:p>
            <a:r>
              <a:rPr lang="en-US"/>
              <a:t>Click to edit Master title style</a:t>
            </a:r>
            <a:endParaRPr lang="en-US" dirty="0"/>
          </a:p>
        </p:txBody>
      </p:sp>
      <p:sp>
        <p:nvSpPr>
          <p:cNvPr id="11" name="Rectangle 10" hidden="1">
            <a:extLst>
              <a:ext uri="{FF2B5EF4-FFF2-40B4-BE49-F238E27FC236}">
                <a16:creationId xmlns:a16="http://schemas.microsoft.com/office/drawing/2014/main" id="{B9BA8268-5A7D-424D-A57A-7813D1343759}"/>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6040791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177D9A-72FE-46B9-AEBD-B5A3F8C28AB8}"/>
              </a:ext>
            </a:extLst>
          </p:cNvPr>
          <p:cNvSpPr/>
          <p:nvPr userDrawn="1"/>
        </p:nvSpPr>
        <p:spPr>
          <a:xfrm>
            <a:off x="0" y="6328227"/>
            <a:ext cx="12192000"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343" dirty="0"/>
          </a:p>
        </p:txBody>
      </p:sp>
      <p:sp>
        <p:nvSpPr>
          <p:cNvPr id="2" name="Title Placeholder 1">
            <a:extLst>
              <a:ext uri="{FF2B5EF4-FFF2-40B4-BE49-F238E27FC236}">
                <a16:creationId xmlns:a16="http://schemas.microsoft.com/office/drawing/2014/main" id="{2BEF78B0-9B63-B343-8CF8-D6FA3E653D6E}"/>
              </a:ext>
            </a:extLst>
          </p:cNvPr>
          <p:cNvSpPr>
            <a:spLocks noGrp="1"/>
          </p:cNvSpPr>
          <p:nvPr>
            <p:ph type="title"/>
          </p:nvPr>
        </p:nvSpPr>
        <p:spPr>
          <a:xfrm>
            <a:off x="414731" y="141306"/>
            <a:ext cx="11058132" cy="70974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8CBED13-B6F8-5141-B58F-050DF52B712F}"/>
              </a:ext>
            </a:extLst>
          </p:cNvPr>
          <p:cNvSpPr>
            <a:spLocks noGrp="1"/>
          </p:cNvSpPr>
          <p:nvPr>
            <p:ph type="body"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98F29A0-61BB-E44C-B7FF-5C16AD3EB125}"/>
              </a:ext>
            </a:extLst>
          </p:cNvPr>
          <p:cNvSpPr>
            <a:spLocks noGrp="1"/>
          </p:cNvSpPr>
          <p:nvPr>
            <p:ph type="dt" sz="half" idx="2"/>
          </p:nvPr>
        </p:nvSpPr>
        <p:spPr>
          <a:xfrm>
            <a:off x="10647680" y="1"/>
            <a:ext cx="1544320" cy="139700"/>
          </a:xfrm>
          <a:prstGeom prst="rect">
            <a:avLst/>
          </a:prstGeom>
        </p:spPr>
        <p:txBody>
          <a:bodyPr vert="horz" lIns="45720" tIns="45720" rIns="45720" bIns="45720" rtlCol="0" anchor="ctr"/>
          <a:lstStyle>
            <a:lvl1pPr algn="r">
              <a:defRPr sz="667">
                <a:solidFill>
                  <a:schemeClr val="tx1">
                    <a:tint val="75000"/>
                  </a:schemeClr>
                </a:solidFill>
              </a:defRPr>
            </a:lvl1pPr>
          </a:lstStyle>
          <a:p>
            <a:fld id="{0CA7E49E-8520-48E1-8F47-DB7F5A59BF68}" type="datetime1">
              <a:rPr lang="en-US"/>
              <a:t>8/30/2023</a:t>
            </a:fld>
            <a:endParaRPr lang="en-US" dirty="0"/>
          </a:p>
        </p:txBody>
      </p:sp>
      <p:sp>
        <p:nvSpPr>
          <p:cNvPr id="5" name="Footer Placeholder 4">
            <a:extLst>
              <a:ext uri="{FF2B5EF4-FFF2-40B4-BE49-F238E27FC236}">
                <a16:creationId xmlns:a16="http://schemas.microsoft.com/office/drawing/2014/main" id="{3AD0F4D9-A547-4F4E-AC0F-5C399BC3B033}"/>
              </a:ext>
            </a:extLst>
          </p:cNvPr>
          <p:cNvSpPr>
            <a:spLocks noGrp="1"/>
          </p:cNvSpPr>
          <p:nvPr>
            <p:ph type="ftr" sz="quarter" idx="3"/>
          </p:nvPr>
        </p:nvSpPr>
        <p:spPr>
          <a:xfrm>
            <a:off x="6191624" y="6422472"/>
            <a:ext cx="5403475" cy="365125"/>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id="{731F5B58-7BDD-B045-BC56-8AAF9C6490B8}"/>
              </a:ext>
            </a:extLst>
          </p:cNvPr>
          <p:cNvSpPr>
            <a:spLocks noGrp="1"/>
          </p:cNvSpPr>
          <p:nvPr>
            <p:ph type="sldNum" sz="quarter" idx="4"/>
          </p:nvPr>
        </p:nvSpPr>
        <p:spPr>
          <a:xfrm>
            <a:off x="11595099" y="6422472"/>
            <a:ext cx="556260" cy="365125"/>
          </a:xfrm>
          <a:prstGeom prst="rect">
            <a:avLst/>
          </a:prstGeom>
        </p:spPr>
        <p:txBody>
          <a:bodyPr vert="horz" lIns="91440" tIns="45720" rIns="91440" bIns="45720" rtlCol="0" anchor="ctr"/>
          <a:lstStyle>
            <a:lvl1pPr algn="ctr">
              <a:defRPr sz="1200" b="0">
                <a:solidFill>
                  <a:schemeClr val="tx2"/>
                </a:solidFill>
                <a:latin typeface="+mj-lt"/>
              </a:defRPr>
            </a:lvl1pPr>
          </a:lstStyle>
          <a:p>
            <a:fld id="{DA135043-C596-1A48-8BDA-03EB29A64DF4}" type="slidenum">
              <a:rPr lang="en-US"/>
              <a:pPr/>
              <a:t>‹#›</a:t>
            </a:fld>
            <a:endParaRPr lang="en-US" dirty="0"/>
          </a:p>
        </p:txBody>
      </p:sp>
      <p:pic>
        <p:nvPicPr>
          <p:cNvPr id="17" name="Picture 16">
            <a:extLst>
              <a:ext uri="{FF2B5EF4-FFF2-40B4-BE49-F238E27FC236}">
                <a16:creationId xmlns:a16="http://schemas.microsoft.com/office/drawing/2014/main" id="{69842886-E591-4C2B-B61D-2C79206FA1DC}"/>
              </a:ext>
            </a:extLst>
          </p:cNvPr>
          <p:cNvPicPr>
            <a:picLocks noChangeAspect="1"/>
          </p:cNvPicPr>
          <p:nvPr userDrawn="1"/>
        </p:nvPicPr>
        <p:blipFill>
          <a:blip r:embed="rId23">
            <a:extLst>
              <a:ext uri="{96DAC541-7B7A-43D3-8B79-37D633B846F1}">
                <asvg:svgBlip xmlns:asvg="http://schemas.microsoft.com/office/drawing/2016/SVG/main" xmlns="" r:embed="rId24"/>
              </a:ext>
            </a:extLst>
          </a:blip>
          <a:srcRect/>
          <a:stretch/>
        </p:blipFill>
        <p:spPr>
          <a:xfrm>
            <a:off x="183314" y="6499687"/>
            <a:ext cx="190005" cy="190005"/>
          </a:xfrm>
          <a:prstGeom prst="rect">
            <a:avLst/>
          </a:prstGeom>
        </p:spPr>
      </p:pic>
      <p:sp>
        <p:nvSpPr>
          <p:cNvPr id="7" name="empower - DO NOT DELETE!!!" hidden="1">
            <a:extLst>
              <a:ext uri="{FF2B5EF4-FFF2-40B4-BE49-F238E27FC236}">
                <a16:creationId xmlns:a16="http://schemas.microsoft.com/office/drawing/2014/main" id="{5EC7EF95-615C-41BB-A2AA-2C599AE68A6C}"/>
              </a:ext>
            </a:extLst>
          </p:cNvPr>
          <p:cNvSpPr/>
          <p:nvPr userDrawn="1">
            <p:custDataLst>
              <p:tags r:id="rId22"/>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Tree>
    <p:extLst>
      <p:ext uri="{BB962C8B-B14F-4D97-AF65-F5344CB8AC3E}">
        <p14:creationId xmlns:p14="http://schemas.microsoft.com/office/powerpoint/2010/main" val="1074958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6" r:id="rId3"/>
    <p:sldLayoutId id="2147483684" r:id="rId4"/>
    <p:sldLayoutId id="2147483688" r:id="rId5"/>
    <p:sldLayoutId id="2147483685" r:id="rId6"/>
    <p:sldLayoutId id="2147483666" r:id="rId7"/>
    <p:sldLayoutId id="2147483687" r:id="rId8"/>
    <p:sldLayoutId id="2147483665" r:id="rId9"/>
    <p:sldLayoutId id="2147483664" r:id="rId10"/>
    <p:sldLayoutId id="2147483679" r:id="rId11"/>
    <p:sldLayoutId id="2147483668" r:id="rId12"/>
    <p:sldLayoutId id="2147483667" r:id="rId13"/>
    <p:sldLayoutId id="2147483680" r:id="rId14"/>
    <p:sldLayoutId id="2147483663" r:id="rId15"/>
    <p:sldLayoutId id="2147483677" r:id="rId16"/>
    <p:sldLayoutId id="2147483683" r:id="rId17"/>
    <p:sldLayoutId id="2147483690" r:id="rId18"/>
    <p:sldLayoutId id="2147483691" r:id="rId19"/>
    <p:sldLayoutId id="2147483692" r:id="rId20"/>
  </p:sldLayoutIdLst>
  <p:hf hdr="0" ftr="0" dt="0"/>
  <p:txStyles>
    <p:titleStyle>
      <a:lvl1pPr algn="l" defTabSz="1306218"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306218" rtl="0" eaLnBrk="1" latinLnBrk="0" hangingPunct="1">
        <a:defRPr sz="1200" kern="1200">
          <a:solidFill>
            <a:schemeClr val="tx1"/>
          </a:solidFill>
          <a:latin typeface="+mn-lt"/>
          <a:ea typeface="+mn-ea"/>
          <a:cs typeface="+mn-cs"/>
        </a:defRPr>
      </a:lvl1pPr>
      <a:lvl2pPr marL="653109" algn="l" defTabSz="1306218" rtl="0" eaLnBrk="1" latinLnBrk="0" hangingPunct="1">
        <a:defRPr sz="1200" kern="1200">
          <a:solidFill>
            <a:schemeClr val="tx1"/>
          </a:solidFill>
          <a:latin typeface="+mn-lt"/>
          <a:ea typeface="+mn-ea"/>
          <a:cs typeface="+mn-cs"/>
        </a:defRPr>
      </a:lvl2pPr>
      <a:lvl3pPr marL="1306218" algn="l" defTabSz="1306218" rtl="0" eaLnBrk="1" latinLnBrk="0" hangingPunct="1">
        <a:defRPr sz="1200" kern="1200">
          <a:solidFill>
            <a:schemeClr val="tx1"/>
          </a:solidFill>
          <a:latin typeface="+mn-lt"/>
          <a:ea typeface="+mn-ea"/>
          <a:cs typeface="+mn-cs"/>
        </a:defRPr>
      </a:lvl3pPr>
      <a:lvl4pPr marL="1959327" algn="l" defTabSz="1306218" rtl="0" eaLnBrk="1" latinLnBrk="0" hangingPunct="1">
        <a:defRPr sz="1200" kern="1200">
          <a:solidFill>
            <a:schemeClr val="tx1"/>
          </a:solidFill>
          <a:latin typeface="+mn-lt"/>
          <a:ea typeface="+mn-ea"/>
          <a:cs typeface="+mn-cs"/>
        </a:defRPr>
      </a:lvl4pPr>
      <a:lvl5pPr marL="2612436" algn="l" defTabSz="1306218" rtl="0" eaLnBrk="1" latinLnBrk="0" hangingPunct="1">
        <a:defRPr sz="1200" kern="1200">
          <a:solidFill>
            <a:schemeClr val="tx1"/>
          </a:solidFill>
          <a:latin typeface="+mn-lt"/>
          <a:ea typeface="+mn-ea"/>
          <a:cs typeface="+mn-cs"/>
        </a:defRPr>
      </a:lvl5pPr>
      <a:lvl6pPr marL="3265545" algn="l" defTabSz="1306218" rtl="0" eaLnBrk="1" latinLnBrk="0" hangingPunct="1">
        <a:defRPr sz="1200" kern="1200">
          <a:solidFill>
            <a:schemeClr val="tx1"/>
          </a:solidFill>
          <a:latin typeface="+mn-lt"/>
          <a:ea typeface="+mn-ea"/>
          <a:cs typeface="+mn-cs"/>
        </a:defRPr>
      </a:lvl6pPr>
      <a:lvl7pPr marL="3918654" algn="l" defTabSz="1306218" rtl="0" eaLnBrk="1" latinLnBrk="0" hangingPunct="1">
        <a:defRPr sz="1200" kern="1200">
          <a:solidFill>
            <a:schemeClr val="tx1"/>
          </a:solidFill>
          <a:latin typeface="+mn-lt"/>
          <a:ea typeface="+mn-ea"/>
          <a:cs typeface="+mn-cs"/>
        </a:defRPr>
      </a:lvl7pPr>
      <a:lvl8pPr marL="4571764" algn="l" defTabSz="1306218" rtl="0" eaLnBrk="1" latinLnBrk="0" hangingPunct="1">
        <a:defRPr sz="1200" kern="1200">
          <a:solidFill>
            <a:schemeClr val="tx1"/>
          </a:solidFill>
          <a:latin typeface="+mn-lt"/>
          <a:ea typeface="+mn-ea"/>
          <a:cs typeface="+mn-cs"/>
        </a:defRPr>
      </a:lvl8pPr>
      <a:lvl9pPr marL="5224873" algn="l" defTabSz="1306218"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5.xml"/><Relationship Id="rId13" Type="http://schemas.microsoft.com/office/2007/relationships/diagramDrawing" Target="../diagrams/drawing6.xml"/><Relationship Id="rId3" Type="http://schemas.openxmlformats.org/officeDocument/2006/relationships/hyperlink" Target="https://cbscommunity.rmfstrategies.com/content_items/known-complications-of-surgery" TargetMode="External"/><Relationship Id="rId7" Type="http://schemas.openxmlformats.org/officeDocument/2006/relationships/diagramColors" Target="../diagrams/colors5.xml"/><Relationship Id="rId12" Type="http://schemas.openxmlformats.org/officeDocument/2006/relationships/diagramColors" Target="../diagrams/colors6.xml"/><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diagramQuickStyle" Target="../diagrams/quickStyle5.xml"/><Relationship Id="rId11" Type="http://schemas.openxmlformats.org/officeDocument/2006/relationships/diagramQuickStyle" Target="../diagrams/quickStyle6.xml"/><Relationship Id="rId5" Type="http://schemas.openxmlformats.org/officeDocument/2006/relationships/diagramLayout" Target="../diagrams/layout5.xml"/><Relationship Id="rId10" Type="http://schemas.openxmlformats.org/officeDocument/2006/relationships/diagramLayout" Target="../diagrams/layout6.xml"/><Relationship Id="rId4" Type="http://schemas.openxmlformats.org/officeDocument/2006/relationships/diagramData" Target="../diagrams/data5.xml"/><Relationship Id="rId9" Type="http://schemas.openxmlformats.org/officeDocument/2006/relationships/diagramData" Target="../diagrams/data6.xml"/><Relationship Id="rId14" Type="http://schemas.openxmlformats.org/officeDocument/2006/relationships/image" Target="../media/image18.jp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19.jpeg"/><Relationship Id="rId4" Type="http://schemas.openxmlformats.org/officeDocument/2006/relationships/hyperlink" Target="https://protect-us.mimecast.com/s/jW-3CxkVrvCxJDYxs8tqu4?domain=ama-assn.org" TargetMode="External"/></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7.xml"/><Relationship Id="rId3" Type="http://schemas.openxmlformats.org/officeDocument/2006/relationships/notesSlide" Target="../notesSlides/notesSlide12.xml"/><Relationship Id="rId7" Type="http://schemas.openxmlformats.org/officeDocument/2006/relationships/diagramQuickStyle" Target="../diagrams/quickStyle7.xm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diagramLayout" Target="../diagrams/layout7.xml"/><Relationship Id="rId5" Type="http://schemas.openxmlformats.org/officeDocument/2006/relationships/diagramData" Target="../diagrams/data7.xml"/><Relationship Id="rId4" Type="http://schemas.openxmlformats.org/officeDocument/2006/relationships/hyperlink" Target="http://www.ama-assn.org/sites/ama-assn.org/files/corp/media-browser/public/about-ama/councils/Council%20Reports/council-on-ethics-and-judicial-affairs/i09-ceja-physicians-disruptive-behavior.pdf" TargetMode="External"/><Relationship Id="rId9" Type="http://schemas.microsoft.com/office/2007/relationships/diagramDrawing" Target="../diagrams/drawing7.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notesSlide" Target="../notesSlides/notesSlide13.xml"/><Relationship Id="rId7" Type="http://schemas.openxmlformats.org/officeDocument/2006/relationships/diagramQuickStyle" Target="../diagrams/quickStyle8.xml"/><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hyperlink" Target="https://www.ama-assn.org/sites/ama-assn.org/files/corp/media-browser/public/about-ama/councils/Council%20Reports/council-on-ethics-and-judicial-affairs/i09-ceja-physicians-disruptive-behavior.pdf" TargetMode="External"/><Relationship Id="rId9" Type="http://schemas.microsoft.com/office/2007/relationships/diagramDrawing" Target="../diagrams/drawing8.xml"/></Relationships>
</file>

<file path=ppt/slides/_rels/slide15.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hyperlink" Target="https://www.kff.org/wp-content/uploads/sites/2/2013/03/quantiamd_whitepaper_acpe_15may2011.pdf" TargetMode="External"/><Relationship Id="rId7" Type="http://schemas.openxmlformats.org/officeDocument/2006/relationships/diagramColors" Target="../diagrams/colors9.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20.bin"/></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notesSlide" Target="../notesSlides/notesSlide16.xml"/><Relationship Id="rId7" Type="http://schemas.openxmlformats.org/officeDocument/2006/relationships/diagramQuickStyle" Target="../diagrams/quickStyle10.xm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diagramLayout" Target="../diagrams/layout10.xml"/><Relationship Id="rId11" Type="http://schemas.openxmlformats.org/officeDocument/2006/relationships/image" Target="../media/image22.png"/><Relationship Id="rId5" Type="http://schemas.openxmlformats.org/officeDocument/2006/relationships/diagramData" Target="../diagrams/data10.xml"/><Relationship Id="rId10" Type="http://schemas.openxmlformats.org/officeDocument/2006/relationships/image" Target="../media/image21.jpg"/><Relationship Id="rId4" Type="http://schemas.openxmlformats.org/officeDocument/2006/relationships/hyperlink" Target="https://www.medpro.com/disruptive-behavior-red-flags-healthcare-professionals" TargetMode="External"/><Relationship Id="rId9" Type="http://schemas.microsoft.com/office/2007/relationships/diagramDrawing" Target="../diagrams/drawing10.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1.xml"/><Relationship Id="rId3" Type="http://schemas.openxmlformats.org/officeDocument/2006/relationships/notesSlide" Target="../notesSlides/notesSlide17.xml"/><Relationship Id="rId7" Type="http://schemas.openxmlformats.org/officeDocument/2006/relationships/diagramQuickStyle" Target="../diagrams/quickStyle11.xml"/><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diagramLayout" Target="../diagrams/layout11.xml"/><Relationship Id="rId5" Type="http://schemas.openxmlformats.org/officeDocument/2006/relationships/diagramData" Target="../diagrams/data11.xml"/><Relationship Id="rId4" Type="http://schemas.openxmlformats.org/officeDocument/2006/relationships/image" Target="../media/image23.jpg"/><Relationship Id="rId9" Type="http://schemas.microsoft.com/office/2007/relationships/diagramDrawing" Target="../diagrams/drawing1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8.xml"/><Relationship Id="rId1" Type="http://schemas.openxmlformats.org/officeDocument/2006/relationships/tags" Target="../tags/tag20.xml"/><Relationship Id="rId5" Type="http://schemas.openxmlformats.org/officeDocument/2006/relationships/image" Target="../media/image24.bin"/><Relationship Id="rId4" Type="http://schemas.openxmlformats.org/officeDocument/2006/relationships/hyperlink" Target="https://doi.org/10.1097/PTS.0000000000000288"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9.bin"/><Relationship Id="rId4" Type="http://schemas.openxmlformats.org/officeDocument/2006/relationships/hyperlink" Target="mailto:Christine.Hoskin@medpro.com" TargetMode="External"/></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12.xml"/><Relationship Id="rId3" Type="http://schemas.openxmlformats.org/officeDocument/2006/relationships/notesSlide" Target="../notesSlides/notesSlide19.xml"/><Relationship Id="rId7" Type="http://schemas.openxmlformats.org/officeDocument/2006/relationships/diagramQuickStyle" Target="../diagrams/quickStyle12.xml"/><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diagramLayout" Target="../diagrams/layout12.xml"/><Relationship Id="rId5" Type="http://schemas.openxmlformats.org/officeDocument/2006/relationships/diagramData" Target="../diagrams/data12.xml"/><Relationship Id="rId10" Type="http://schemas.openxmlformats.org/officeDocument/2006/relationships/image" Target="../media/image25.jpg"/><Relationship Id="rId4" Type="http://schemas.openxmlformats.org/officeDocument/2006/relationships/hyperlink" Target="https://doi.org/10.1016/j.jcjq.2019.09.004" TargetMode="External"/><Relationship Id="rId9" Type="http://schemas.microsoft.com/office/2007/relationships/diagramDrawing" Target="../diagrams/drawing1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tags" Target="../tags/tag22.xml"/><Relationship Id="rId4" Type="http://schemas.openxmlformats.org/officeDocument/2006/relationships/hyperlink" Target="https://doi.org/10.1136/bmjqs-2015-004109" TargetMode="Externa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23.xml"/><Relationship Id="rId6" Type="http://schemas.openxmlformats.org/officeDocument/2006/relationships/hyperlink" Target="https://doi.org/10.1097/SMJ.0b013e318063bd75" TargetMode="External"/><Relationship Id="rId5" Type="http://schemas.microsoft.com/office/2007/relationships/hdphoto" Target="../media/hdphoto1.wdp"/><Relationship Id="rId4" Type="http://schemas.openxmlformats.org/officeDocument/2006/relationships/image" Target="../media/image26.bin"/></Relationships>
</file>

<file path=ppt/slides/_rels/slide23.xml.rels><?xml version="1.0" encoding="UTF-8" standalone="yes"?>
<Relationships xmlns="http://schemas.openxmlformats.org/package/2006/relationships"><Relationship Id="rId3" Type="http://schemas.openxmlformats.org/officeDocument/2006/relationships/hyperlink" Target="https://doi.org/10.1097/SLA.0000000000002742" TargetMode="External"/><Relationship Id="rId2" Type="http://schemas.openxmlformats.org/officeDocument/2006/relationships/notesSlide" Target="../notesSlides/notesSlide22.xml"/><Relationship Id="rId1" Type="http://schemas.openxmlformats.org/officeDocument/2006/relationships/slideLayout" Target="../slideLayouts/slideLayout8.xml"/><Relationship Id="rId4" Type="http://schemas.openxmlformats.org/officeDocument/2006/relationships/image" Target="../media/image27.jpg"/></Relationships>
</file>

<file path=ppt/slides/_rels/slide24.xml.rels><?xml version="1.0" encoding="UTF-8" standalone="yes"?>
<Relationships xmlns="http://schemas.openxmlformats.org/package/2006/relationships"><Relationship Id="rId3" Type="http://schemas.openxmlformats.org/officeDocument/2006/relationships/hyperlink" Target="https://www.vumc.org/patient-professional-advocacy/vumc-cppa-home" TargetMode="External"/><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notesSlide" Target="../notesSlides/notesSlide24.xml"/><Relationship Id="rId7" Type="http://schemas.openxmlformats.org/officeDocument/2006/relationships/diagramQuickStyle" Target="../diagrams/quickStyle13.xml"/><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diagramLayout" Target="../diagrams/layout13.xml"/><Relationship Id="rId5" Type="http://schemas.openxmlformats.org/officeDocument/2006/relationships/diagramData" Target="../diagrams/data13.xml"/><Relationship Id="rId10" Type="http://schemas.openxmlformats.org/officeDocument/2006/relationships/image" Target="../media/image29.jpg"/><Relationship Id="rId4" Type="http://schemas.openxmlformats.org/officeDocument/2006/relationships/hyperlink" Target="https://doi.org/10.1016/s1553-7250(16)42019-2" TargetMode="External"/><Relationship Id="rId9" Type="http://schemas.microsoft.com/office/2007/relationships/diagramDrawing" Target="../diagrams/drawing13.xml"/></Relationships>
</file>

<file path=ppt/slides/_rels/slide26.xml.rels><?xml version="1.0" encoding="UTF-8" standalone="yes"?>
<Relationships xmlns="http://schemas.openxmlformats.org/package/2006/relationships"><Relationship Id="rId3" Type="http://schemas.openxmlformats.org/officeDocument/2006/relationships/hyperlink" Target="https://doi.org/10.1097/acm.0b013e31815761ee" TargetMode="External"/><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image" Target="../media/image30.jpg"/><Relationship Id="rId4" Type="http://schemas.openxmlformats.org/officeDocument/2006/relationships/hyperlink" Target="https://www.ahrq.gov/patient-safety/resources/liability/pichert.html"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doi.org/10.1097/SMJ.0b013e318063bd75" TargetMode="External"/><Relationship Id="rId7" Type="http://schemas.microsoft.com/office/2007/relationships/hdphoto" Target="../media/hdphoto2.wdp"/><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31.png"/><Relationship Id="rId5" Type="http://schemas.openxmlformats.org/officeDocument/2006/relationships/hyperlink" Target="http://www.vumc.org/patient-professional-advocacy/pars-program" TargetMode="External"/><Relationship Id="rId4" Type="http://schemas.openxmlformats.org/officeDocument/2006/relationships/hyperlink" Target="https://scholarship.law.vanderbilt.edu/vlr/vol59/iss4/6/"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14.xml"/><Relationship Id="rId3" Type="http://schemas.openxmlformats.org/officeDocument/2006/relationships/hyperlink" Target="https://doi.org/10.1016/j.mayocpiqo.2021.08.007" TargetMode="External"/><Relationship Id="rId7" Type="http://schemas.openxmlformats.org/officeDocument/2006/relationships/diagramQuickStyle" Target="../diagrams/quickStyle14.xml"/><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diagramLayout" Target="../diagrams/layout14.xml"/><Relationship Id="rId5" Type="http://schemas.openxmlformats.org/officeDocument/2006/relationships/diagramData" Target="../diagrams/data14.xml"/><Relationship Id="rId10" Type="http://schemas.openxmlformats.org/officeDocument/2006/relationships/image" Target="../media/image32.jpg"/><Relationship Id="rId4" Type="http://schemas.openxmlformats.org/officeDocument/2006/relationships/hyperlink" Target="https://doi.org/10.23938/ASSN.0070" TargetMode="External"/><Relationship Id="rId9" Type="http://schemas.microsoft.com/office/2007/relationships/diagramDrawing" Target="../diagrams/drawing14.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0.jp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hyperlink" Target="https://doi.org/10.1016/j.mayocpiqo.2021.08.007" TargetMode="External"/><Relationship Id="rId2" Type="http://schemas.openxmlformats.org/officeDocument/2006/relationships/notesSlide" Target="../notesSlides/notesSlide29.xml"/><Relationship Id="rId1" Type="http://schemas.openxmlformats.org/officeDocument/2006/relationships/slideLayout" Target="../slideLayouts/slideLayout8.xml"/><Relationship Id="rId5" Type="http://schemas.openxmlformats.org/officeDocument/2006/relationships/image" Target="../media/image34.png"/><Relationship Id="rId4" Type="http://schemas.openxmlformats.org/officeDocument/2006/relationships/image" Target="../media/image33.jpg"/></Relationships>
</file>

<file path=ppt/slides/_rels/slide31.xml.rels><?xml version="1.0" encoding="UTF-8" standalone="yes"?>
<Relationships xmlns="http://schemas.openxmlformats.org/package/2006/relationships"><Relationship Id="rId3" Type="http://schemas.openxmlformats.org/officeDocument/2006/relationships/hyperlink" Target="https://doi.org/10.1016/j.mayocpiqo.2021.08.007" TargetMode="External"/><Relationship Id="rId2" Type="http://schemas.openxmlformats.org/officeDocument/2006/relationships/notesSlide" Target="../notesSlides/notesSlide30.xml"/><Relationship Id="rId1" Type="http://schemas.openxmlformats.org/officeDocument/2006/relationships/slideLayout" Target="../slideLayouts/slideLayout8.xml"/><Relationship Id="rId4" Type="http://schemas.openxmlformats.org/officeDocument/2006/relationships/image" Target="../media/image35.jp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hyperlink" Target="http://www.mplassociation.org/Web/Publications/Inside_Medical_Liability/Issues/2021/Q3/articles/Empathy_Training_Patient_Satisfaction.aspx" TargetMode="External"/><Relationship Id="rId7" Type="http://schemas.openxmlformats.org/officeDocument/2006/relationships/diagramQuickStyle" Target="../diagrams/quickStyle15.xml"/><Relationship Id="rId2" Type="http://schemas.openxmlformats.org/officeDocument/2006/relationships/notesSlide" Target="../notesSlides/notesSlide32.xml"/><Relationship Id="rId1" Type="http://schemas.openxmlformats.org/officeDocument/2006/relationships/slideLayout" Target="../slideLayouts/slideLayout8.xml"/><Relationship Id="rId6" Type="http://schemas.openxmlformats.org/officeDocument/2006/relationships/diagramLayout" Target="../diagrams/layout15.xml"/><Relationship Id="rId5" Type="http://schemas.openxmlformats.org/officeDocument/2006/relationships/diagramData" Target="../diagrams/data15.xml"/><Relationship Id="rId10" Type="http://schemas.openxmlformats.org/officeDocument/2006/relationships/image" Target="../media/image13.png"/><Relationship Id="rId4" Type="http://schemas.openxmlformats.org/officeDocument/2006/relationships/hyperlink" Target="http://www.medpagetoday.com/opinion/kevinmd/94699" TargetMode="External"/><Relationship Id="rId9" Type="http://schemas.microsoft.com/office/2007/relationships/diagramDrawing" Target="../diagrams/drawing15.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6.xml"/><Relationship Id="rId7" Type="http://schemas.openxmlformats.org/officeDocument/2006/relationships/image" Target="../media/image36.jpg"/><Relationship Id="rId2" Type="http://schemas.openxmlformats.org/officeDocument/2006/relationships/diagramData" Target="../diagrams/data16.xml"/><Relationship Id="rId1" Type="http://schemas.openxmlformats.org/officeDocument/2006/relationships/slideLayout" Target="../slideLayouts/slideLayout7.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35.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6.xml.rels><?xml version="1.0" encoding="UTF-8" standalone="yes"?>
<Relationships xmlns="http://schemas.openxmlformats.org/package/2006/relationships"><Relationship Id="rId3" Type="http://schemas.openxmlformats.org/officeDocument/2006/relationships/hyperlink" Target="https://cbscommunity.rmfstrategies.com/content_items/known-complications-of-surgery" TargetMode="External"/><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40.jpg"/><Relationship Id="rId5" Type="http://schemas.openxmlformats.org/officeDocument/2006/relationships/image" Target="../media/image39.png"/><Relationship Id="rId4"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hyperlink" Target="https://cbscommunity.rmfstrategies.com/content_items/known-complications-of-surgery" TargetMode="External"/><Relationship Id="rId2" Type="http://schemas.openxmlformats.org/officeDocument/2006/relationships/notesSlide" Target="../notesSlides/notesSlide35.xml"/><Relationship Id="rId1" Type="http://schemas.openxmlformats.org/officeDocument/2006/relationships/slideLayout" Target="../slideLayouts/slideLayout8.xml"/><Relationship Id="rId4" Type="http://schemas.openxmlformats.org/officeDocument/2006/relationships/hyperlink" Target="https://www.facs.org/quality-programs/strong-for-surgery" TargetMode="External"/></Relationships>
</file>

<file path=ppt/slides/_rels/slide38.xml.rels><?xml version="1.0" encoding="UTF-8" standalone="yes"?>
<Relationships xmlns="http://schemas.openxmlformats.org/package/2006/relationships"><Relationship Id="rId8" Type="http://schemas.openxmlformats.org/officeDocument/2006/relationships/hyperlink" Target="https://www.medpro.com/documents/10502/3667697/Risk+Tips_Addressing+Disruptive+Behavior+Among+Healthcare+Professionals.pdf" TargetMode="External"/><Relationship Id="rId3" Type="http://schemas.openxmlformats.org/officeDocument/2006/relationships/hyperlink" Target="https://cbscommunity.rmfstrategies.com/content_items/known-complications-of-surgery" TargetMode="External"/><Relationship Id="rId7" Type="http://schemas.openxmlformats.org/officeDocument/2006/relationships/hyperlink" Target="https://www.medpro.com/documents/10502/3019648/Risk+Q_A_Hospitalist+Communication.pdf" TargetMode="External"/><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hyperlink" Target="https://www.medpro.com/documents/10502/2824311/Resource_List-Culture_of_Safety.pdf" TargetMode="External"/><Relationship Id="rId5" Type="http://schemas.openxmlformats.org/officeDocument/2006/relationships/hyperlink" Target="https://www.medpro.com/documents/10502/2820774/Communication+in+the+Diagnostic+Process.pdf" TargetMode="External"/><Relationship Id="rId10" Type="http://schemas.openxmlformats.org/officeDocument/2006/relationships/image" Target="../media/image41.jpg"/><Relationship Id="rId4" Type="http://schemas.openxmlformats.org/officeDocument/2006/relationships/hyperlink" Target="https://www.medpro.com/documents/10502/2899801/Checklist_Effective+Communication.pdf" TargetMode="External"/><Relationship Id="rId9" Type="http://schemas.openxmlformats.org/officeDocument/2006/relationships/hyperlink" Target="https://www.medpro.com/documents/10502/3667697/Risk+Tips_Collaborating+With+Healthcare+Staff+to+Improve+Patient+Safety.pdf" TargetMode="Externa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www.investopedia.com/terms/s/soft-skills.asp" TargetMode="External"/><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41.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9.xml"/><Relationship Id="rId1" Type="http://schemas.openxmlformats.org/officeDocument/2006/relationships/slideLayout" Target="../slideLayouts/slideLayout7.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0.xml"/><Relationship Id="rId1" Type="http://schemas.openxmlformats.org/officeDocument/2006/relationships/slideLayout" Target="../slideLayouts/slideLayout7.xml"/><Relationship Id="rId6" Type="http://schemas.openxmlformats.org/officeDocument/2006/relationships/image" Target="../media/image46.jpg"/><Relationship Id="rId5" Type="http://schemas.openxmlformats.org/officeDocument/2006/relationships/image" Target="../media/image45.png"/><Relationship Id="rId4" Type="http://schemas.openxmlformats.org/officeDocument/2006/relationships/image" Target="../media/image44.png"/></Relationships>
</file>

<file path=ppt/slides/_rels/slide5.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hyperlink" Target="https://javelinlearningsolutions.com/avoiding-the-thorny-issues-two/" TargetMode="External"/><Relationship Id="rId7" Type="http://schemas.openxmlformats.org/officeDocument/2006/relationships/diagramColors" Target="../diagrams/colors3.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diagramQuickStyle" Target="../diagrams/quickStyle3.xml"/><Relationship Id="rId11" Type="http://schemas.openxmlformats.org/officeDocument/2006/relationships/image" Target="../media/image14.jpeg"/><Relationship Id="rId5" Type="http://schemas.openxmlformats.org/officeDocument/2006/relationships/diagramLayout" Target="../diagrams/layout3.xml"/><Relationship Id="rId10" Type="http://schemas.openxmlformats.org/officeDocument/2006/relationships/image" Target="../media/image13.png"/><Relationship Id="rId4" Type="http://schemas.openxmlformats.org/officeDocument/2006/relationships/diagramData" Target="../diagrams/data3.xm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hyperlink" Target="https://www.medpro.com/documents/10502/5086245/Ten+Year+Overview_Data+Insight_2023.pdf" TargetMode="External"/><Relationship Id="rId7" Type="http://schemas.openxmlformats.org/officeDocument/2006/relationships/diagramQuickStyle" Target="../diagrams/quickStyle4.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diagramLayout" Target="../diagrams/layout4.xml"/><Relationship Id="rId5" Type="http://schemas.openxmlformats.org/officeDocument/2006/relationships/diagramData" Target="../diagrams/data4.xml"/><Relationship Id="rId10" Type="http://schemas.openxmlformats.org/officeDocument/2006/relationships/image" Target="../media/image15.jpg"/><Relationship Id="rId4" Type="http://schemas.openxmlformats.org/officeDocument/2006/relationships/hyperlink" Target="https://doi.org/10.1007/s11606-019-05247-5" TargetMode="External"/><Relationship Id="rId9" Type="http://schemas.microsoft.com/office/2007/relationships/diagramDrawing" Target="../diagrams/drawing4.xml"/></Relationships>
</file>

<file path=ppt/slides/_rels/slide8.xml.rels><?xml version="1.0" encoding="UTF-8" standalone="yes"?>
<Relationships xmlns="http://schemas.openxmlformats.org/package/2006/relationships"><Relationship Id="rId3" Type="http://schemas.openxmlformats.org/officeDocument/2006/relationships/hyperlink" Target="https://www.medpro.com/documents/10502/5086245/Ten+Year+Overview_Data+Insight_2023.pdf"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hyperlink" Target="http://www.rmf.harvard.edu/Malpractice-Data/Annual-Benchmark-Reports" TargetMode="External"/><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23D09-4BDB-4B89-A357-2428A735D2C8}"/>
              </a:ext>
            </a:extLst>
          </p:cNvPr>
          <p:cNvSpPr>
            <a:spLocks noGrp="1"/>
          </p:cNvSpPr>
          <p:nvPr>
            <p:ph type="ctrTitle"/>
          </p:nvPr>
        </p:nvSpPr>
        <p:spPr/>
        <p:txBody>
          <a:bodyPr/>
          <a:lstStyle/>
          <a:p>
            <a:r>
              <a:rPr lang="en-US" dirty="0"/>
              <a:t>The Impact of Soft Skills on </a:t>
            </a:r>
            <a:br>
              <a:rPr lang="en-US" dirty="0"/>
            </a:br>
            <a:r>
              <a:rPr lang="en-US" dirty="0"/>
              <a:t>the Prevention of Medical Malpractice</a:t>
            </a:r>
          </a:p>
        </p:txBody>
      </p:sp>
      <p:sp>
        <p:nvSpPr>
          <p:cNvPr id="5" name="Subtitle 4">
            <a:extLst>
              <a:ext uri="{FF2B5EF4-FFF2-40B4-BE49-F238E27FC236}">
                <a16:creationId xmlns:a16="http://schemas.microsoft.com/office/drawing/2014/main" id="{8AE1E648-18C7-E158-92D0-379DAA33E042}"/>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990833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2800" dirty="0">
                <a:latin typeface="+mn-lt"/>
              </a:rPr>
              <a:t>Issues with communication</a:t>
            </a:r>
          </a:p>
        </p:txBody>
      </p:sp>
      <p:sp>
        <p:nvSpPr>
          <p:cNvPr id="6" name="Text Placeholder 5"/>
          <p:cNvSpPr>
            <a:spLocks noGrp="1"/>
          </p:cNvSpPr>
          <p:nvPr>
            <p:ph type="body" sz="quarter" idx="14"/>
          </p:nvPr>
        </p:nvSpPr>
        <p:spPr/>
        <p:txBody>
          <a:bodyPr/>
          <a:lstStyle/>
          <a:p>
            <a:r>
              <a:rPr lang="en-US" dirty="0"/>
              <a:t>Candello Solutions by CRICO. (2022, March 1). </a:t>
            </a:r>
            <a:r>
              <a:rPr lang="en-US" i="1" dirty="0"/>
              <a:t>Known complications of surgery. </a:t>
            </a:r>
            <a:r>
              <a:rPr lang="en-US" dirty="0"/>
              <a:t>Retrieved from </a:t>
            </a:r>
            <a:r>
              <a:rPr lang="en-US" dirty="0">
                <a:hlinkClick r:id="rId3"/>
              </a:rPr>
              <a:t>https://cbscommunity.rmfstrategies.com/content_items/known-complications-of-surgery</a:t>
            </a:r>
            <a:r>
              <a:rPr lang="en-US" dirty="0"/>
              <a:t> </a:t>
            </a:r>
          </a:p>
        </p:txBody>
      </p:sp>
      <p:graphicFrame>
        <p:nvGraphicFramePr>
          <p:cNvPr id="2" name="Diagram 1"/>
          <p:cNvGraphicFramePr/>
          <p:nvPr>
            <p:extLst>
              <p:ext uri="{D42A27DB-BD31-4B8C-83A1-F6EECF244321}">
                <p14:modId xmlns:p14="http://schemas.microsoft.com/office/powerpoint/2010/main" val="1813398349"/>
              </p:ext>
            </p:extLst>
          </p:nvPr>
        </p:nvGraphicFramePr>
        <p:xfrm>
          <a:off x="6537537" y="1462679"/>
          <a:ext cx="5321382" cy="40832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p:cNvGraphicFramePr/>
          <p:nvPr>
            <p:extLst>
              <p:ext uri="{D42A27DB-BD31-4B8C-83A1-F6EECF244321}">
                <p14:modId xmlns:p14="http://schemas.microsoft.com/office/powerpoint/2010/main" val="1480095804"/>
              </p:ext>
            </p:extLst>
          </p:nvPr>
        </p:nvGraphicFramePr>
        <p:xfrm>
          <a:off x="414731" y="822769"/>
          <a:ext cx="5668211" cy="533483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8" name="Picture 7"/>
          <p:cNvPicPr>
            <a:picLocks noChangeAspect="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29428" t="21581" r="29747" b="21924"/>
          <a:stretch/>
        </p:blipFill>
        <p:spPr>
          <a:xfrm>
            <a:off x="10746557" y="342500"/>
            <a:ext cx="1112362" cy="1539330"/>
          </a:xfrm>
          <a:prstGeom prst="rect">
            <a:avLst/>
          </a:prstGeom>
        </p:spPr>
      </p:pic>
    </p:spTree>
    <p:extLst>
      <p:ext uri="{BB962C8B-B14F-4D97-AF65-F5344CB8AC3E}">
        <p14:creationId xmlns:p14="http://schemas.microsoft.com/office/powerpoint/2010/main" val="9989572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havior</a:t>
            </a:r>
          </a:p>
        </p:txBody>
      </p:sp>
    </p:spTree>
    <p:extLst>
      <p:ext uri="{BB962C8B-B14F-4D97-AF65-F5344CB8AC3E}">
        <p14:creationId xmlns:p14="http://schemas.microsoft.com/office/powerpoint/2010/main" val="34388950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finitions</a:t>
            </a:r>
          </a:p>
        </p:txBody>
      </p:sp>
      <p:sp>
        <p:nvSpPr>
          <p:cNvPr id="11" name="Text Placeholder 10"/>
          <p:cNvSpPr>
            <a:spLocks noGrp="1"/>
          </p:cNvSpPr>
          <p:nvPr>
            <p:ph type="body" sz="quarter" idx="14"/>
          </p:nvPr>
        </p:nvSpPr>
        <p:spPr/>
        <p:txBody>
          <a:bodyPr/>
          <a:lstStyle/>
          <a:p>
            <a:r>
              <a:rPr lang="en-US" dirty="0"/>
              <a:t>American Medical Association. (2009). AMA Opinion 9.045 - Physicians with disruptive behavior. Retrieved from </a:t>
            </a:r>
            <a:r>
              <a:rPr lang="en-US" u="sng" dirty="0">
                <a:hlinkClick r:id="rId4"/>
              </a:rPr>
              <a:t>www.ama-assn.org/sites/ama-assn.org/files/corp/media-browser/public/about-ama/councils/Council%20Reports/council-on-ethics-and-judicial-affairs/i09-ceja-physicians-disruptive-behavior.pdf</a:t>
            </a:r>
            <a:endParaRPr lang="en-US" dirty="0"/>
          </a:p>
        </p:txBody>
      </p:sp>
      <p:sp>
        <p:nvSpPr>
          <p:cNvPr id="8" name="Slide Number Placeholder 7"/>
          <p:cNvSpPr>
            <a:spLocks noGrp="1"/>
          </p:cNvSpPr>
          <p:nvPr>
            <p:ph type="sldNum" sz="quarter" idx="4294967295"/>
          </p:nvPr>
        </p:nvSpPr>
        <p:spPr>
          <a:xfrm>
            <a:off x="11636375" y="6423025"/>
            <a:ext cx="555625" cy="365125"/>
          </a:xfrm>
        </p:spPr>
        <p:txBody>
          <a:bodyPr/>
          <a:lstStyle/>
          <a:p>
            <a:fld id="{DA135043-C596-1A48-8BDA-03EB29A64DF4}" type="slidenum">
              <a:rPr lang="en-US" smtClean="0"/>
              <a:pPr/>
              <a:t>12</a:t>
            </a:fld>
            <a:endParaRPr lang="en-US" dirty="0"/>
          </a:p>
        </p:txBody>
      </p:sp>
      <p:graphicFrame>
        <p:nvGraphicFramePr>
          <p:cNvPr id="12" name="Table 11"/>
          <p:cNvGraphicFramePr>
            <a:graphicFrameLocks noGrp="1"/>
          </p:cNvGraphicFramePr>
          <p:nvPr>
            <p:extLst>
              <p:ext uri="{D42A27DB-BD31-4B8C-83A1-F6EECF244321}">
                <p14:modId xmlns:p14="http://schemas.microsoft.com/office/powerpoint/2010/main" val="1764184989"/>
              </p:ext>
            </p:extLst>
          </p:nvPr>
        </p:nvGraphicFramePr>
        <p:xfrm>
          <a:off x="531763" y="971701"/>
          <a:ext cx="6170695" cy="2377440"/>
        </p:xfrm>
        <a:graphic>
          <a:graphicData uri="http://schemas.openxmlformats.org/drawingml/2006/table">
            <a:tbl>
              <a:tblPr firstRow="1" bandRow="1">
                <a:tableStyleId>{C083E6E3-FA7D-4D7B-A595-EF9225AFEA82}</a:tableStyleId>
              </a:tblPr>
              <a:tblGrid>
                <a:gridCol w="6170695">
                  <a:extLst>
                    <a:ext uri="{9D8B030D-6E8A-4147-A177-3AD203B41FA5}">
                      <a16:colId xmlns:a16="http://schemas.microsoft.com/office/drawing/2014/main" val="3771392394"/>
                    </a:ext>
                  </a:extLst>
                </a:gridCol>
              </a:tblGrid>
              <a:tr h="517996">
                <a:tc>
                  <a:txBody>
                    <a:bodyPr/>
                    <a:lstStyle/>
                    <a:p>
                      <a:r>
                        <a:rPr lang="en-US" sz="2000" dirty="0">
                          <a:solidFill>
                            <a:schemeClr val="tx2"/>
                          </a:solidFill>
                        </a:rPr>
                        <a:t>Inappropriate</a:t>
                      </a:r>
                      <a:r>
                        <a:rPr lang="en-US" sz="2000" baseline="0" dirty="0">
                          <a:solidFill>
                            <a:schemeClr val="tx2"/>
                          </a:solidFill>
                        </a:rPr>
                        <a:t> behavior</a:t>
                      </a:r>
                      <a:endParaRPr lang="en-US" sz="2000" dirty="0">
                        <a:solidFill>
                          <a:schemeClr val="tx2"/>
                        </a:solidFill>
                      </a:endParaRPr>
                    </a:p>
                  </a:txBody>
                  <a:tcPr anchor="ctr"/>
                </a:tc>
                <a:extLst>
                  <a:ext uri="{0D108BD9-81ED-4DB2-BD59-A6C34878D82A}">
                    <a16:rowId xmlns:a16="http://schemas.microsoft.com/office/drawing/2014/main" val="196560202"/>
                  </a:ext>
                </a:extLst>
              </a:tr>
              <a:tr h="1859444">
                <a:tc>
                  <a:txBody>
                    <a:bodyPr/>
                    <a:lstStyle/>
                    <a:p>
                      <a:pPr marL="0" marR="0" lvl="0" indent="0" algn="l" defTabSz="1306218" rtl="0" eaLnBrk="1" fontAlgn="auto" latinLnBrk="0" hangingPunct="1">
                        <a:lnSpc>
                          <a:spcPct val="100000"/>
                        </a:lnSpc>
                        <a:spcBef>
                          <a:spcPts val="0"/>
                        </a:spcBef>
                        <a:spcAft>
                          <a:spcPts val="0"/>
                        </a:spcAft>
                        <a:buClrTx/>
                        <a:buSzTx/>
                        <a:buFontTx/>
                        <a:buNone/>
                        <a:tabLst/>
                        <a:defRPr/>
                      </a:pPr>
                      <a:r>
                        <a:rPr lang="en-US" sz="2000" dirty="0">
                          <a:solidFill>
                            <a:schemeClr val="tx2"/>
                          </a:solidFill>
                        </a:rPr>
                        <a:t>“Any conduct that is unwarranted and is reasonably interpreted to be demeaning or offensive . . . Persistent, repeated inappropriate behavior can become a form of harassment and thereby rise to</a:t>
                      </a:r>
                      <a:r>
                        <a:rPr lang="en-US" sz="2000" baseline="0" dirty="0">
                          <a:solidFill>
                            <a:schemeClr val="tx2"/>
                          </a:solidFill>
                        </a:rPr>
                        <a:t> the level of disruptive behavior.</a:t>
                      </a:r>
                      <a:r>
                        <a:rPr lang="en-US" sz="2000" dirty="0">
                          <a:solidFill>
                            <a:schemeClr val="tx2"/>
                          </a:solidFill>
                        </a:rPr>
                        <a:t>”</a:t>
                      </a:r>
                    </a:p>
                  </a:txBody>
                  <a:tcPr anchor="ctr"/>
                </a:tc>
                <a:extLst>
                  <a:ext uri="{0D108BD9-81ED-4DB2-BD59-A6C34878D82A}">
                    <a16:rowId xmlns:a16="http://schemas.microsoft.com/office/drawing/2014/main" val="1622303475"/>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272171779"/>
              </p:ext>
            </p:extLst>
          </p:nvPr>
        </p:nvGraphicFramePr>
        <p:xfrm>
          <a:off x="531763" y="3671281"/>
          <a:ext cx="6170696" cy="2286000"/>
        </p:xfrm>
        <a:graphic>
          <a:graphicData uri="http://schemas.openxmlformats.org/drawingml/2006/table">
            <a:tbl>
              <a:tblPr firstRow="1" bandRow="1">
                <a:tableStyleId>{D27102A9-8310-4765-A935-A1911B00CA55}</a:tableStyleId>
              </a:tblPr>
              <a:tblGrid>
                <a:gridCol w="6170696">
                  <a:extLst>
                    <a:ext uri="{9D8B030D-6E8A-4147-A177-3AD203B41FA5}">
                      <a16:colId xmlns:a16="http://schemas.microsoft.com/office/drawing/2014/main" val="2194541920"/>
                    </a:ext>
                  </a:extLst>
                </a:gridCol>
              </a:tblGrid>
              <a:tr h="497747">
                <a:tc>
                  <a:txBody>
                    <a:bodyPr/>
                    <a:lstStyle/>
                    <a:p>
                      <a:r>
                        <a:rPr lang="en-US" sz="2000" dirty="0">
                          <a:solidFill>
                            <a:schemeClr val="tx2"/>
                          </a:solidFill>
                        </a:rPr>
                        <a:t>Disruptive behavior</a:t>
                      </a:r>
                    </a:p>
                  </a:txBody>
                  <a:tcPr anchor="ctr"/>
                </a:tc>
                <a:extLst>
                  <a:ext uri="{0D108BD9-81ED-4DB2-BD59-A6C34878D82A}">
                    <a16:rowId xmlns:a16="http://schemas.microsoft.com/office/drawing/2014/main" val="1048462947"/>
                  </a:ext>
                </a:extLst>
              </a:tr>
              <a:tr h="1788253">
                <a:tc>
                  <a:txBody>
                    <a:bodyPr/>
                    <a:lstStyle/>
                    <a:p>
                      <a:pPr marL="0" marR="0" lvl="0" indent="0" algn="l" defTabSz="1306218" rtl="0" eaLnBrk="1" fontAlgn="auto" latinLnBrk="0" hangingPunct="1">
                        <a:lnSpc>
                          <a:spcPct val="100000"/>
                        </a:lnSpc>
                        <a:spcBef>
                          <a:spcPts val="0"/>
                        </a:spcBef>
                        <a:spcAft>
                          <a:spcPts val="0"/>
                        </a:spcAft>
                        <a:buClrTx/>
                        <a:buSzTx/>
                        <a:buFontTx/>
                        <a:buNone/>
                        <a:tabLst/>
                        <a:defRPr/>
                      </a:pPr>
                      <a:r>
                        <a:rPr lang="en-US" sz="2000" dirty="0">
                          <a:solidFill>
                            <a:schemeClr val="tx2"/>
                          </a:solidFill>
                        </a:rPr>
                        <a:t>“Any abusive conduct, including sexual or other forms of harassment, or other forms of verbal or nonverbal conduct that harms or intimidates others to the extent that quality of care or patient safety could be compromised.”</a:t>
                      </a:r>
                    </a:p>
                  </a:txBody>
                  <a:tcPr anchor="ctr"/>
                </a:tc>
                <a:extLst>
                  <a:ext uri="{0D108BD9-81ED-4DB2-BD59-A6C34878D82A}">
                    <a16:rowId xmlns:a16="http://schemas.microsoft.com/office/drawing/2014/main" val="592318618"/>
                  </a:ext>
                </a:extLst>
              </a:tr>
            </a:tbl>
          </a:graphicData>
        </a:graphic>
      </p:graphicFrame>
      <p:pic>
        <p:nvPicPr>
          <p:cNvPr id="14" name="Picture 1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179262" y="1792435"/>
            <a:ext cx="5012737" cy="3419949"/>
          </a:xfrm>
          <a:prstGeom prst="rect">
            <a:avLst/>
          </a:prstGeom>
        </p:spPr>
      </p:pic>
    </p:spTree>
    <p:custDataLst>
      <p:tags r:id="rId1"/>
    </p:custDataLst>
    <p:extLst>
      <p:ext uri="{BB962C8B-B14F-4D97-AF65-F5344CB8AC3E}">
        <p14:creationId xmlns:p14="http://schemas.microsoft.com/office/powerpoint/2010/main" val="9267766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ehaviors</a:t>
            </a:r>
          </a:p>
        </p:txBody>
      </p:sp>
      <p:sp>
        <p:nvSpPr>
          <p:cNvPr id="6" name="Text Placeholder 5"/>
          <p:cNvSpPr>
            <a:spLocks noGrp="1"/>
          </p:cNvSpPr>
          <p:nvPr>
            <p:ph type="body" sz="quarter" idx="14"/>
          </p:nvPr>
        </p:nvSpPr>
        <p:spPr/>
        <p:txBody>
          <a:bodyPr/>
          <a:lstStyle/>
          <a:p>
            <a:r>
              <a:rPr lang="en-US" dirty="0"/>
              <a:t>American Medical Association. (2009). AMA Opinion 9.045 - Physicians with disruptive behavior. Retrieved from </a:t>
            </a:r>
            <a:r>
              <a:rPr lang="en-US" u="sng" dirty="0">
                <a:hlinkClick r:id="rId4"/>
              </a:rPr>
              <a:t>www.ama-assn.org/sites/ama-assn.org/files/corp/media-browser/public/about-ama/councils/Council%20Reports/council-on-ethics-and-judicial-affairs/i09-ceja-physicians-disruptive-behavior.pdf</a:t>
            </a:r>
            <a:endParaRPr lang="en-US" dirty="0"/>
          </a:p>
        </p:txBody>
      </p:sp>
      <p:sp>
        <p:nvSpPr>
          <p:cNvPr id="2" name="Slide Number Placeholder 1"/>
          <p:cNvSpPr>
            <a:spLocks noGrp="1"/>
          </p:cNvSpPr>
          <p:nvPr>
            <p:ph type="sldNum" sz="quarter" idx="4294967295"/>
          </p:nvPr>
        </p:nvSpPr>
        <p:spPr>
          <a:xfrm>
            <a:off x="11636375" y="6423025"/>
            <a:ext cx="555625" cy="365125"/>
          </a:xfrm>
        </p:spPr>
        <p:txBody>
          <a:bodyPr/>
          <a:lstStyle/>
          <a:p>
            <a:fld id="{DA135043-C596-1A48-8BDA-03EB29A64DF4}" type="slidenum">
              <a:rPr lang="en-US" smtClean="0"/>
              <a:pPr/>
              <a:t>13</a:t>
            </a:fld>
            <a:endParaRPr lang="en-US" dirty="0"/>
          </a:p>
        </p:txBody>
      </p:sp>
      <p:graphicFrame>
        <p:nvGraphicFramePr>
          <p:cNvPr id="7" name="Content Placeholder 3"/>
          <p:cNvGraphicFramePr>
            <a:graphicFrameLocks/>
          </p:cNvGraphicFramePr>
          <p:nvPr>
            <p:extLst>
              <p:ext uri="{D42A27DB-BD31-4B8C-83A1-F6EECF244321}">
                <p14:modId xmlns:p14="http://schemas.microsoft.com/office/powerpoint/2010/main" val="3419214407"/>
              </p:ext>
            </p:extLst>
          </p:nvPr>
        </p:nvGraphicFramePr>
        <p:xfrm>
          <a:off x="537034" y="975787"/>
          <a:ext cx="11058065" cy="453542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Left-Right Arrow 7"/>
          <p:cNvSpPr/>
          <p:nvPr/>
        </p:nvSpPr>
        <p:spPr>
          <a:xfrm>
            <a:off x="7277822" y="1514031"/>
            <a:ext cx="1384515" cy="599268"/>
          </a:xfrm>
          <a:prstGeom prst="leftRightArrow">
            <a:avLst/>
          </a:prstGeom>
          <a:solidFill>
            <a:schemeClr val="accent1"/>
          </a:solidFill>
          <a:ln w="12700" cap="flat" cmpd="sng" algn="ctr">
            <a:solidFill>
              <a:schemeClr val="accent1"/>
            </a:solidFill>
            <a:prstDash val="solid"/>
            <a:miter lim="800000"/>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2343"/>
          </a:p>
        </p:txBody>
      </p:sp>
    </p:spTree>
    <p:custDataLst>
      <p:tags r:id="rId1"/>
    </p:custDataLst>
    <p:extLst>
      <p:ext uri="{BB962C8B-B14F-4D97-AF65-F5344CB8AC3E}">
        <p14:creationId xmlns:p14="http://schemas.microsoft.com/office/powerpoint/2010/main" val="2580969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Inappropriate and disruptive behaviors</a:t>
            </a:r>
          </a:p>
        </p:txBody>
      </p:sp>
      <p:sp>
        <p:nvSpPr>
          <p:cNvPr id="5" name="Text Placeholder 4"/>
          <p:cNvSpPr>
            <a:spLocks noGrp="1"/>
          </p:cNvSpPr>
          <p:nvPr>
            <p:ph type="body" sz="quarter" idx="15"/>
          </p:nvPr>
        </p:nvSpPr>
        <p:spPr>
          <a:xfrm>
            <a:off x="408623" y="6490389"/>
            <a:ext cx="11064240" cy="229289"/>
          </a:xfrm>
        </p:spPr>
        <p:txBody>
          <a:bodyPr/>
          <a:lstStyle/>
          <a:p>
            <a:r>
              <a:rPr lang="en-US" dirty="0"/>
              <a:t>American Medical Association. (2009). AMA Opinion 9.045 - Physicians with disruptive behavior. Retrieved from </a:t>
            </a:r>
            <a:r>
              <a:rPr lang="en-US" u="sng" dirty="0">
                <a:hlinkClick r:id="rId4"/>
              </a:rPr>
              <a:t>www.ama-assn.org/sites/ama-assn.org/files/corp/media-browser/public/about-ama/councils/Council%20Reports/council-on-ethics-and-judicial-affairs/i09-ceja-physicians-disruptive-behavior.pdf</a:t>
            </a:r>
            <a:endParaRPr lang="en-US" dirty="0"/>
          </a:p>
        </p:txBody>
      </p:sp>
      <p:graphicFrame>
        <p:nvGraphicFramePr>
          <p:cNvPr id="7" name="Content Placeholder 3"/>
          <p:cNvGraphicFramePr>
            <a:graphicFrameLocks/>
          </p:cNvGraphicFramePr>
          <p:nvPr>
            <p:extLst>
              <p:ext uri="{D42A27DB-BD31-4B8C-83A1-F6EECF244321}">
                <p14:modId xmlns:p14="http://schemas.microsoft.com/office/powerpoint/2010/main" val="2487173219"/>
              </p:ext>
            </p:extLst>
          </p:nvPr>
        </p:nvGraphicFramePr>
        <p:xfrm>
          <a:off x="477568" y="851048"/>
          <a:ext cx="11226751" cy="452729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Rounded Rectangle 1"/>
          <p:cNvSpPr/>
          <p:nvPr/>
        </p:nvSpPr>
        <p:spPr>
          <a:xfrm>
            <a:off x="1702051" y="5726135"/>
            <a:ext cx="9433711" cy="41645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000" dirty="0"/>
              <a:t>Disrespect is the most common disruptive behavior.</a:t>
            </a:r>
          </a:p>
        </p:txBody>
      </p:sp>
      <p:sp>
        <p:nvSpPr>
          <p:cNvPr id="6" name="Slide Number Placeholder 5"/>
          <p:cNvSpPr>
            <a:spLocks noGrp="1"/>
          </p:cNvSpPr>
          <p:nvPr>
            <p:ph type="sldNum" sz="quarter" idx="14"/>
          </p:nvPr>
        </p:nvSpPr>
        <p:spPr/>
        <p:txBody>
          <a:bodyPr/>
          <a:lstStyle/>
          <a:p>
            <a:fld id="{DA135043-C596-1A48-8BDA-03EB29A64DF4}" type="slidenum">
              <a:rPr lang="en-US" smtClean="0"/>
              <a:pPr/>
              <a:t>14</a:t>
            </a:fld>
            <a:endParaRPr lang="en-US" dirty="0"/>
          </a:p>
        </p:txBody>
      </p:sp>
    </p:spTree>
    <p:custDataLst>
      <p:tags r:id="rId1"/>
    </p:custDataLst>
    <p:extLst>
      <p:ext uri="{BB962C8B-B14F-4D97-AF65-F5344CB8AC3E}">
        <p14:creationId xmlns:p14="http://schemas.microsoft.com/office/powerpoint/2010/main" val="11460832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pPr marL="0" indent="0">
              <a:lnSpc>
                <a:spcPct val="100000"/>
              </a:lnSpc>
              <a:buNone/>
            </a:pPr>
            <a:r>
              <a:rPr lang="en-US" dirty="0"/>
              <a:t>American College of Physician Executives and </a:t>
            </a:r>
            <a:r>
              <a:rPr lang="en-US" dirty="0" err="1"/>
              <a:t>QuantiaMD</a:t>
            </a:r>
            <a:r>
              <a:rPr lang="en-US" dirty="0"/>
              <a:t>® survey results </a:t>
            </a:r>
            <a:br>
              <a:rPr lang="en-US" dirty="0"/>
            </a:br>
            <a:r>
              <a:rPr lang="en-US" dirty="0"/>
              <a:t>(&gt;840 physician and physician leader participants)</a:t>
            </a:r>
          </a:p>
        </p:txBody>
      </p:sp>
      <p:sp>
        <p:nvSpPr>
          <p:cNvPr id="3" name="Title 2"/>
          <p:cNvSpPr>
            <a:spLocks noGrp="1"/>
          </p:cNvSpPr>
          <p:nvPr>
            <p:ph type="title"/>
          </p:nvPr>
        </p:nvSpPr>
        <p:spPr/>
        <p:txBody>
          <a:bodyPr/>
          <a:lstStyle/>
          <a:p>
            <a:r>
              <a:rPr lang="en-US"/>
              <a:t>Prevalence and magnitude</a:t>
            </a:r>
            <a:endParaRPr lang="en-US" dirty="0"/>
          </a:p>
        </p:txBody>
      </p:sp>
      <p:sp>
        <p:nvSpPr>
          <p:cNvPr id="4" name="Slide Number Placeholder 3"/>
          <p:cNvSpPr>
            <a:spLocks noGrp="1"/>
          </p:cNvSpPr>
          <p:nvPr>
            <p:ph type="sldNum" sz="quarter" idx="14"/>
          </p:nvPr>
        </p:nvSpPr>
        <p:spPr/>
        <p:txBody>
          <a:bodyPr/>
          <a:lstStyle/>
          <a:p>
            <a:fld id="{DA135043-C596-1A48-8BDA-03EB29A64DF4}" type="slidenum">
              <a:rPr lang="en-US" smtClean="0"/>
              <a:pPr/>
              <a:t>15</a:t>
            </a:fld>
            <a:endParaRPr lang="en-US" dirty="0"/>
          </a:p>
        </p:txBody>
      </p:sp>
      <p:sp>
        <p:nvSpPr>
          <p:cNvPr id="11" name="Text Placeholder 10"/>
          <p:cNvSpPr>
            <a:spLocks noGrp="1"/>
          </p:cNvSpPr>
          <p:nvPr>
            <p:ph type="body" sz="quarter" idx="15"/>
          </p:nvPr>
        </p:nvSpPr>
        <p:spPr/>
        <p:txBody>
          <a:bodyPr/>
          <a:lstStyle/>
          <a:p>
            <a:r>
              <a:rPr lang="en-US" dirty="0"/>
              <a:t>MacDonald, O. (2011, May 15). Disruptive physician behavior. </a:t>
            </a:r>
            <a:r>
              <a:rPr lang="en-US" dirty="0" err="1"/>
              <a:t>QuantiaMD</a:t>
            </a:r>
            <a:r>
              <a:rPr lang="en-US" dirty="0"/>
              <a:t>. Retrieved from </a:t>
            </a:r>
            <a:r>
              <a:rPr lang="en-US" dirty="0">
                <a:hlinkClick r:id="rId3"/>
              </a:rPr>
              <a:t>https://www.kff.org/wp-content/uploads/sites/2/2013/03/quantiamd_whitepaper_acpe_15may2011.pdf</a:t>
            </a:r>
            <a:endParaRPr lang="en-US" dirty="0"/>
          </a:p>
        </p:txBody>
      </p:sp>
      <p:grpSp>
        <p:nvGrpSpPr>
          <p:cNvPr id="14" name="Group 13"/>
          <p:cNvGrpSpPr/>
          <p:nvPr/>
        </p:nvGrpSpPr>
        <p:grpSpPr>
          <a:xfrm>
            <a:off x="8318508" y="2009669"/>
            <a:ext cx="3209492" cy="3788523"/>
            <a:chOff x="8365202" y="1694015"/>
            <a:chExt cx="3209492" cy="3788523"/>
          </a:xfrm>
        </p:grpSpPr>
        <p:sp>
          <p:nvSpPr>
            <p:cNvPr id="15" name="Freeform 14"/>
            <p:cNvSpPr/>
            <p:nvPr/>
          </p:nvSpPr>
          <p:spPr>
            <a:xfrm>
              <a:off x="8365202" y="1694015"/>
              <a:ext cx="2292499" cy="786384"/>
            </a:xfrm>
            <a:custGeom>
              <a:avLst/>
              <a:gdLst>
                <a:gd name="connsiteX0" fmla="*/ 0 w 2292499"/>
                <a:gd name="connsiteY0" fmla="*/ 79086 h 790862"/>
                <a:gd name="connsiteX1" fmla="*/ 79086 w 2292499"/>
                <a:gd name="connsiteY1" fmla="*/ 0 h 790862"/>
                <a:gd name="connsiteX2" fmla="*/ 2213413 w 2292499"/>
                <a:gd name="connsiteY2" fmla="*/ 0 h 790862"/>
                <a:gd name="connsiteX3" fmla="*/ 2292499 w 2292499"/>
                <a:gd name="connsiteY3" fmla="*/ 79086 h 790862"/>
                <a:gd name="connsiteX4" fmla="*/ 2292499 w 2292499"/>
                <a:gd name="connsiteY4" fmla="*/ 711776 h 790862"/>
                <a:gd name="connsiteX5" fmla="*/ 2213413 w 2292499"/>
                <a:gd name="connsiteY5" fmla="*/ 790862 h 790862"/>
                <a:gd name="connsiteX6" fmla="*/ 79086 w 2292499"/>
                <a:gd name="connsiteY6" fmla="*/ 790862 h 790862"/>
                <a:gd name="connsiteX7" fmla="*/ 0 w 2292499"/>
                <a:gd name="connsiteY7" fmla="*/ 711776 h 790862"/>
                <a:gd name="connsiteX8" fmla="*/ 0 w 2292499"/>
                <a:gd name="connsiteY8" fmla="*/ 79086 h 790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499" h="790862">
                  <a:moveTo>
                    <a:pt x="0" y="79086"/>
                  </a:moveTo>
                  <a:cubicBezTo>
                    <a:pt x="0" y="35408"/>
                    <a:pt x="35408" y="0"/>
                    <a:pt x="79086" y="0"/>
                  </a:cubicBezTo>
                  <a:lnTo>
                    <a:pt x="2213413" y="0"/>
                  </a:lnTo>
                  <a:cubicBezTo>
                    <a:pt x="2257091" y="0"/>
                    <a:pt x="2292499" y="35408"/>
                    <a:pt x="2292499" y="79086"/>
                  </a:cubicBezTo>
                  <a:lnTo>
                    <a:pt x="2292499" y="711776"/>
                  </a:lnTo>
                  <a:cubicBezTo>
                    <a:pt x="2292499" y="755454"/>
                    <a:pt x="2257091" y="790862"/>
                    <a:pt x="2213413" y="790862"/>
                  </a:cubicBezTo>
                  <a:lnTo>
                    <a:pt x="79086" y="790862"/>
                  </a:lnTo>
                  <a:cubicBezTo>
                    <a:pt x="35408" y="790862"/>
                    <a:pt x="0" y="755454"/>
                    <a:pt x="0" y="711776"/>
                  </a:cubicBezTo>
                  <a:lnTo>
                    <a:pt x="0" y="79086"/>
                  </a:lnTo>
                  <a:close/>
                </a:path>
              </a:pathLst>
            </a:custGeom>
            <a:solidFill>
              <a:schemeClr val="accent5"/>
            </a:solid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57454" tIns="46024" rIns="57454" bIns="46024" numCol="1" spcCol="1270" anchor="ctr" anchorCtr="0">
              <a:noAutofit/>
            </a:bodyPr>
            <a:lstStyle/>
            <a:p>
              <a:pPr lvl="0" algn="ctr" defTabSz="800100">
                <a:lnSpc>
                  <a:spcPct val="90000"/>
                </a:lnSpc>
                <a:spcBef>
                  <a:spcPct val="0"/>
                </a:spcBef>
                <a:spcAft>
                  <a:spcPct val="35000"/>
                </a:spcAft>
              </a:pPr>
              <a:r>
                <a:rPr lang="en-US" sz="1800" b="1" kern="1200" dirty="0"/>
                <a:t>Identified needs</a:t>
              </a:r>
            </a:p>
          </p:txBody>
        </p:sp>
        <p:sp>
          <p:nvSpPr>
            <p:cNvPr id="16" name="Freeform 15"/>
            <p:cNvSpPr/>
            <p:nvPr/>
          </p:nvSpPr>
          <p:spPr>
            <a:xfrm>
              <a:off x="8594452" y="2484877"/>
              <a:ext cx="229249" cy="599532"/>
            </a:xfrm>
            <a:custGeom>
              <a:avLst/>
              <a:gdLst/>
              <a:ahLst/>
              <a:cxnLst/>
              <a:rect l="0" t="0" r="0" b="0"/>
              <a:pathLst>
                <a:path>
                  <a:moveTo>
                    <a:pt x="0" y="0"/>
                  </a:moveTo>
                  <a:lnTo>
                    <a:pt x="0" y="599532"/>
                  </a:lnTo>
                  <a:lnTo>
                    <a:pt x="229249" y="599532"/>
                  </a:lnTo>
                </a:path>
              </a:pathLst>
            </a:custGeom>
            <a:noFill/>
          </p:spPr>
          <p:style>
            <a:lnRef idx="2">
              <a:schemeClr val="accent5">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sp>
          <p:nvSpPr>
            <p:cNvPr id="17" name="Freeform 16"/>
            <p:cNvSpPr/>
            <p:nvPr/>
          </p:nvSpPr>
          <p:spPr>
            <a:xfrm>
              <a:off x="8823702" y="2684722"/>
              <a:ext cx="2750992" cy="799376"/>
            </a:xfrm>
            <a:custGeom>
              <a:avLst/>
              <a:gdLst>
                <a:gd name="connsiteX0" fmla="*/ 0 w 2750992"/>
                <a:gd name="connsiteY0" fmla="*/ 79938 h 799376"/>
                <a:gd name="connsiteX1" fmla="*/ 79938 w 2750992"/>
                <a:gd name="connsiteY1" fmla="*/ 0 h 799376"/>
                <a:gd name="connsiteX2" fmla="*/ 2671054 w 2750992"/>
                <a:gd name="connsiteY2" fmla="*/ 0 h 799376"/>
                <a:gd name="connsiteX3" fmla="*/ 2750992 w 2750992"/>
                <a:gd name="connsiteY3" fmla="*/ 79938 h 799376"/>
                <a:gd name="connsiteX4" fmla="*/ 2750992 w 2750992"/>
                <a:gd name="connsiteY4" fmla="*/ 719438 h 799376"/>
                <a:gd name="connsiteX5" fmla="*/ 2671054 w 2750992"/>
                <a:gd name="connsiteY5" fmla="*/ 799376 h 799376"/>
                <a:gd name="connsiteX6" fmla="*/ 79938 w 2750992"/>
                <a:gd name="connsiteY6" fmla="*/ 799376 h 799376"/>
                <a:gd name="connsiteX7" fmla="*/ 0 w 2750992"/>
                <a:gd name="connsiteY7" fmla="*/ 719438 h 799376"/>
                <a:gd name="connsiteX8" fmla="*/ 0 w 2750992"/>
                <a:gd name="connsiteY8" fmla="*/ 79938 h 79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992" h="799376">
                  <a:moveTo>
                    <a:pt x="0" y="79938"/>
                  </a:moveTo>
                  <a:cubicBezTo>
                    <a:pt x="0" y="35789"/>
                    <a:pt x="35789" y="0"/>
                    <a:pt x="79938" y="0"/>
                  </a:cubicBezTo>
                  <a:lnTo>
                    <a:pt x="2671054" y="0"/>
                  </a:lnTo>
                  <a:cubicBezTo>
                    <a:pt x="2715203" y="0"/>
                    <a:pt x="2750992" y="35789"/>
                    <a:pt x="2750992" y="79938"/>
                  </a:cubicBezTo>
                  <a:lnTo>
                    <a:pt x="2750992" y="719438"/>
                  </a:lnTo>
                  <a:cubicBezTo>
                    <a:pt x="2750992" y="763587"/>
                    <a:pt x="2715203" y="799376"/>
                    <a:pt x="2671054" y="799376"/>
                  </a:cubicBezTo>
                  <a:lnTo>
                    <a:pt x="79938" y="799376"/>
                  </a:lnTo>
                  <a:cubicBezTo>
                    <a:pt x="35789" y="799376"/>
                    <a:pt x="0" y="763587"/>
                    <a:pt x="0" y="719438"/>
                  </a:cubicBezTo>
                  <a:lnTo>
                    <a:pt x="0" y="79938"/>
                  </a:lnTo>
                  <a:close/>
                </a:path>
              </a:pathLst>
            </a:custGeom>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7703" tIns="46273" rIns="57703" bIns="46273" numCol="1" spcCol="1270" anchor="ctr" anchorCtr="0">
              <a:noAutofit/>
            </a:bodyPr>
            <a:lstStyle/>
            <a:p>
              <a:pPr lvl="0" algn="ctr" defTabSz="800100">
                <a:lnSpc>
                  <a:spcPct val="90000"/>
                </a:lnSpc>
                <a:spcBef>
                  <a:spcPct val="0"/>
                </a:spcBef>
                <a:spcAft>
                  <a:spcPct val="35000"/>
                </a:spcAft>
              </a:pPr>
              <a:r>
                <a:rPr lang="en-US" sz="1800" kern="1200">
                  <a:solidFill>
                    <a:schemeClr val="tx2"/>
                  </a:solidFill>
                </a:rPr>
                <a:t>Confronting disruptive physicians </a:t>
              </a:r>
              <a:endParaRPr lang="en-US" sz="1800" kern="1200" dirty="0">
                <a:solidFill>
                  <a:schemeClr val="tx2"/>
                </a:solidFill>
              </a:endParaRPr>
            </a:p>
          </p:txBody>
        </p:sp>
        <p:sp>
          <p:nvSpPr>
            <p:cNvPr id="18" name="Freeform 17"/>
            <p:cNvSpPr/>
            <p:nvPr/>
          </p:nvSpPr>
          <p:spPr>
            <a:xfrm>
              <a:off x="8594452" y="2484877"/>
              <a:ext cx="229249" cy="1598752"/>
            </a:xfrm>
            <a:custGeom>
              <a:avLst/>
              <a:gdLst/>
              <a:ahLst/>
              <a:cxnLst/>
              <a:rect l="0" t="0" r="0" b="0"/>
              <a:pathLst>
                <a:path>
                  <a:moveTo>
                    <a:pt x="0" y="0"/>
                  </a:moveTo>
                  <a:lnTo>
                    <a:pt x="0" y="1598752"/>
                  </a:lnTo>
                  <a:lnTo>
                    <a:pt x="229249" y="1598752"/>
                  </a:lnTo>
                </a:path>
              </a:pathLst>
            </a:custGeom>
            <a:noFill/>
          </p:spPr>
          <p:style>
            <a:lnRef idx="2">
              <a:schemeClr val="accent5">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sp>
          <p:nvSpPr>
            <p:cNvPr id="19" name="Freeform 18"/>
            <p:cNvSpPr/>
            <p:nvPr/>
          </p:nvSpPr>
          <p:spPr>
            <a:xfrm>
              <a:off x="8823702" y="3683942"/>
              <a:ext cx="2750992" cy="799376"/>
            </a:xfrm>
            <a:custGeom>
              <a:avLst/>
              <a:gdLst>
                <a:gd name="connsiteX0" fmla="*/ 0 w 2750992"/>
                <a:gd name="connsiteY0" fmla="*/ 79938 h 799376"/>
                <a:gd name="connsiteX1" fmla="*/ 79938 w 2750992"/>
                <a:gd name="connsiteY1" fmla="*/ 0 h 799376"/>
                <a:gd name="connsiteX2" fmla="*/ 2671054 w 2750992"/>
                <a:gd name="connsiteY2" fmla="*/ 0 h 799376"/>
                <a:gd name="connsiteX3" fmla="*/ 2750992 w 2750992"/>
                <a:gd name="connsiteY3" fmla="*/ 79938 h 799376"/>
                <a:gd name="connsiteX4" fmla="*/ 2750992 w 2750992"/>
                <a:gd name="connsiteY4" fmla="*/ 719438 h 799376"/>
                <a:gd name="connsiteX5" fmla="*/ 2671054 w 2750992"/>
                <a:gd name="connsiteY5" fmla="*/ 799376 h 799376"/>
                <a:gd name="connsiteX6" fmla="*/ 79938 w 2750992"/>
                <a:gd name="connsiteY6" fmla="*/ 799376 h 799376"/>
                <a:gd name="connsiteX7" fmla="*/ 0 w 2750992"/>
                <a:gd name="connsiteY7" fmla="*/ 719438 h 799376"/>
                <a:gd name="connsiteX8" fmla="*/ 0 w 2750992"/>
                <a:gd name="connsiteY8" fmla="*/ 79938 h 79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992" h="799376">
                  <a:moveTo>
                    <a:pt x="0" y="79938"/>
                  </a:moveTo>
                  <a:cubicBezTo>
                    <a:pt x="0" y="35789"/>
                    <a:pt x="35789" y="0"/>
                    <a:pt x="79938" y="0"/>
                  </a:cubicBezTo>
                  <a:lnTo>
                    <a:pt x="2671054" y="0"/>
                  </a:lnTo>
                  <a:cubicBezTo>
                    <a:pt x="2715203" y="0"/>
                    <a:pt x="2750992" y="35789"/>
                    <a:pt x="2750992" y="79938"/>
                  </a:cubicBezTo>
                  <a:lnTo>
                    <a:pt x="2750992" y="719438"/>
                  </a:lnTo>
                  <a:cubicBezTo>
                    <a:pt x="2750992" y="763587"/>
                    <a:pt x="2715203" y="799376"/>
                    <a:pt x="2671054" y="799376"/>
                  </a:cubicBezTo>
                  <a:lnTo>
                    <a:pt x="79938" y="799376"/>
                  </a:lnTo>
                  <a:cubicBezTo>
                    <a:pt x="35789" y="799376"/>
                    <a:pt x="0" y="763587"/>
                    <a:pt x="0" y="719438"/>
                  </a:cubicBezTo>
                  <a:lnTo>
                    <a:pt x="0" y="79938"/>
                  </a:lnTo>
                  <a:close/>
                </a:path>
              </a:pathLst>
            </a:custGeom>
          </p:spPr>
          <p:style>
            <a:lnRef idx="2">
              <a:schemeClr val="accent4">
                <a:hueOff val="-2939059"/>
                <a:satOff val="24603"/>
                <a:lumOff val="8628"/>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7703" tIns="46273" rIns="57703" bIns="46273" numCol="1" spcCol="1270" anchor="ctr" anchorCtr="0">
              <a:noAutofit/>
            </a:bodyPr>
            <a:lstStyle/>
            <a:p>
              <a:pPr lvl="0" algn="ctr" defTabSz="800100">
                <a:lnSpc>
                  <a:spcPct val="90000"/>
                </a:lnSpc>
                <a:spcBef>
                  <a:spcPct val="0"/>
                </a:spcBef>
                <a:spcAft>
                  <a:spcPct val="35000"/>
                </a:spcAft>
              </a:pPr>
              <a:r>
                <a:rPr lang="en-US" sz="1800" kern="1200" dirty="0">
                  <a:solidFill>
                    <a:schemeClr val="tx2"/>
                  </a:solidFill>
                </a:rPr>
                <a:t>Enacting strategies for disciplining disruptive physicians </a:t>
              </a:r>
            </a:p>
          </p:txBody>
        </p:sp>
        <p:sp>
          <p:nvSpPr>
            <p:cNvPr id="20" name="Freeform 19"/>
            <p:cNvSpPr/>
            <p:nvPr/>
          </p:nvSpPr>
          <p:spPr>
            <a:xfrm>
              <a:off x="8594452" y="2484877"/>
              <a:ext cx="229249" cy="2597972"/>
            </a:xfrm>
            <a:custGeom>
              <a:avLst/>
              <a:gdLst/>
              <a:ahLst/>
              <a:cxnLst/>
              <a:rect l="0" t="0" r="0" b="0"/>
              <a:pathLst>
                <a:path>
                  <a:moveTo>
                    <a:pt x="0" y="0"/>
                  </a:moveTo>
                  <a:lnTo>
                    <a:pt x="0" y="2597972"/>
                  </a:lnTo>
                  <a:lnTo>
                    <a:pt x="229249" y="2597972"/>
                  </a:lnTo>
                </a:path>
              </a:pathLst>
            </a:custGeom>
            <a:noFill/>
          </p:spPr>
          <p:style>
            <a:lnRef idx="2">
              <a:schemeClr val="accent5">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sp>
          <p:nvSpPr>
            <p:cNvPr id="21" name="Freeform 20"/>
            <p:cNvSpPr/>
            <p:nvPr/>
          </p:nvSpPr>
          <p:spPr>
            <a:xfrm>
              <a:off x="8823702" y="4683162"/>
              <a:ext cx="2750992" cy="799376"/>
            </a:xfrm>
            <a:custGeom>
              <a:avLst/>
              <a:gdLst>
                <a:gd name="connsiteX0" fmla="*/ 0 w 2750992"/>
                <a:gd name="connsiteY0" fmla="*/ 79938 h 799376"/>
                <a:gd name="connsiteX1" fmla="*/ 79938 w 2750992"/>
                <a:gd name="connsiteY1" fmla="*/ 0 h 799376"/>
                <a:gd name="connsiteX2" fmla="*/ 2671054 w 2750992"/>
                <a:gd name="connsiteY2" fmla="*/ 0 h 799376"/>
                <a:gd name="connsiteX3" fmla="*/ 2750992 w 2750992"/>
                <a:gd name="connsiteY3" fmla="*/ 79938 h 799376"/>
                <a:gd name="connsiteX4" fmla="*/ 2750992 w 2750992"/>
                <a:gd name="connsiteY4" fmla="*/ 719438 h 799376"/>
                <a:gd name="connsiteX5" fmla="*/ 2671054 w 2750992"/>
                <a:gd name="connsiteY5" fmla="*/ 799376 h 799376"/>
                <a:gd name="connsiteX6" fmla="*/ 79938 w 2750992"/>
                <a:gd name="connsiteY6" fmla="*/ 799376 h 799376"/>
                <a:gd name="connsiteX7" fmla="*/ 0 w 2750992"/>
                <a:gd name="connsiteY7" fmla="*/ 719438 h 799376"/>
                <a:gd name="connsiteX8" fmla="*/ 0 w 2750992"/>
                <a:gd name="connsiteY8" fmla="*/ 79938 h 799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50992" h="799376">
                  <a:moveTo>
                    <a:pt x="0" y="79938"/>
                  </a:moveTo>
                  <a:cubicBezTo>
                    <a:pt x="0" y="35789"/>
                    <a:pt x="35789" y="0"/>
                    <a:pt x="79938" y="0"/>
                  </a:cubicBezTo>
                  <a:lnTo>
                    <a:pt x="2671054" y="0"/>
                  </a:lnTo>
                  <a:cubicBezTo>
                    <a:pt x="2715203" y="0"/>
                    <a:pt x="2750992" y="35789"/>
                    <a:pt x="2750992" y="79938"/>
                  </a:cubicBezTo>
                  <a:lnTo>
                    <a:pt x="2750992" y="719438"/>
                  </a:lnTo>
                  <a:cubicBezTo>
                    <a:pt x="2750992" y="763587"/>
                    <a:pt x="2715203" y="799376"/>
                    <a:pt x="2671054" y="799376"/>
                  </a:cubicBezTo>
                  <a:lnTo>
                    <a:pt x="79938" y="799376"/>
                  </a:lnTo>
                  <a:cubicBezTo>
                    <a:pt x="35789" y="799376"/>
                    <a:pt x="0" y="763587"/>
                    <a:pt x="0" y="719438"/>
                  </a:cubicBezTo>
                  <a:lnTo>
                    <a:pt x="0" y="79938"/>
                  </a:lnTo>
                  <a:close/>
                </a:path>
              </a:pathLst>
            </a:custGeom>
          </p:spPr>
          <p:style>
            <a:lnRef idx="2">
              <a:schemeClr val="accent4">
                <a:hueOff val="-5878118"/>
                <a:satOff val="49206"/>
                <a:lumOff val="17255"/>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57703" tIns="46273" rIns="57703" bIns="46273" numCol="1" spcCol="1270" anchor="ctr" anchorCtr="0">
              <a:noAutofit/>
            </a:bodyPr>
            <a:lstStyle/>
            <a:p>
              <a:pPr lvl="0" algn="ctr" defTabSz="800100">
                <a:lnSpc>
                  <a:spcPct val="90000"/>
                </a:lnSpc>
                <a:spcBef>
                  <a:spcPct val="0"/>
                </a:spcBef>
                <a:spcAft>
                  <a:spcPct val="35000"/>
                </a:spcAft>
              </a:pPr>
              <a:r>
                <a:rPr lang="en-US" sz="1800" kern="1200" dirty="0">
                  <a:solidFill>
                    <a:schemeClr val="tx2"/>
                  </a:solidFill>
                </a:rPr>
                <a:t>Improving culture and communication</a:t>
              </a:r>
            </a:p>
          </p:txBody>
        </p:sp>
      </p:grpSp>
      <p:graphicFrame>
        <p:nvGraphicFramePr>
          <p:cNvPr id="13" name="Diagram 12"/>
          <p:cNvGraphicFramePr/>
          <p:nvPr>
            <p:extLst>
              <p:ext uri="{D42A27DB-BD31-4B8C-83A1-F6EECF244321}">
                <p14:modId xmlns:p14="http://schemas.microsoft.com/office/powerpoint/2010/main" val="2809789058"/>
              </p:ext>
            </p:extLst>
          </p:nvPr>
        </p:nvGraphicFramePr>
        <p:xfrm>
          <a:off x="731600" y="1693835"/>
          <a:ext cx="7199177" cy="442019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2082046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p:cNvSpPr txBox="1">
            <a:spLocks/>
          </p:cNvSpPr>
          <p:nvPr/>
        </p:nvSpPr>
        <p:spPr>
          <a:xfrm>
            <a:off x="732547" y="1004349"/>
            <a:ext cx="10746423" cy="4933871"/>
          </a:xfrm>
          <a:prstGeom prst="rect">
            <a:avLst/>
          </a:prstGeom>
        </p:spPr>
        <p:txBody>
          <a:bodyPr>
            <a:normAutofit/>
          </a:bodyPr>
          <a:lst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pPr>
              <a:lnSpc>
                <a:spcPct val="100000"/>
              </a:lnSpc>
              <a:spcAft>
                <a:spcPts val="1200"/>
              </a:spcAft>
            </a:pPr>
            <a:r>
              <a:rPr lang="en-US" sz="2400" dirty="0"/>
              <a:t>The best estimate is 3%–5% of physicians present with disruptive behavior.</a:t>
            </a:r>
          </a:p>
          <a:p>
            <a:pPr>
              <a:lnSpc>
                <a:spcPct val="100000"/>
              </a:lnSpc>
              <a:spcBef>
                <a:spcPts val="600"/>
              </a:spcBef>
              <a:spcAft>
                <a:spcPts val="1200"/>
              </a:spcAft>
            </a:pPr>
            <a:r>
              <a:rPr lang="en-US" sz="2400" dirty="0"/>
              <a:t>In a physician executive survey:</a:t>
            </a:r>
          </a:p>
          <a:p>
            <a:pPr lvl="1">
              <a:lnSpc>
                <a:spcPct val="100000"/>
              </a:lnSpc>
              <a:spcAft>
                <a:spcPts val="1200"/>
              </a:spcAft>
            </a:pPr>
            <a:r>
              <a:rPr lang="en-US" sz="2400" dirty="0"/>
              <a:t>70% stated these disruptive behaviors are from the same physicians.</a:t>
            </a:r>
          </a:p>
          <a:p>
            <a:pPr lvl="1">
              <a:lnSpc>
                <a:spcPct val="100000"/>
              </a:lnSpc>
              <a:spcAft>
                <a:spcPts val="1200"/>
              </a:spcAft>
            </a:pPr>
            <a:r>
              <a:rPr lang="en-US" sz="2400" dirty="0"/>
              <a:t>These behaviors are most common between a nurse or allied healthcare staff member and the physician.</a:t>
            </a:r>
          </a:p>
          <a:p>
            <a:pPr lvl="1">
              <a:lnSpc>
                <a:spcPct val="100000"/>
              </a:lnSpc>
              <a:spcAft>
                <a:spcPts val="1200"/>
              </a:spcAft>
            </a:pPr>
            <a:r>
              <a:rPr lang="en-US" sz="2400" dirty="0"/>
              <a:t>80% stated disruptive behavior is </a:t>
            </a:r>
            <a:br>
              <a:rPr lang="en-US" sz="2400" dirty="0"/>
            </a:br>
            <a:r>
              <a:rPr lang="en-US" sz="2400" dirty="0"/>
              <a:t>underreported due to fear of retaliation.</a:t>
            </a:r>
          </a:p>
          <a:p>
            <a:pPr>
              <a:lnSpc>
                <a:spcPct val="100000"/>
              </a:lnSpc>
              <a:spcBef>
                <a:spcPts val="600"/>
              </a:spcBef>
              <a:spcAft>
                <a:spcPts val="1200"/>
              </a:spcAft>
            </a:pPr>
            <a:r>
              <a:rPr lang="en-US" sz="2400" dirty="0"/>
              <a:t>The perception of physicians versus nurses.</a:t>
            </a:r>
          </a:p>
          <a:p>
            <a:pPr>
              <a:lnSpc>
                <a:spcPct val="100000"/>
              </a:lnSpc>
              <a:spcBef>
                <a:spcPts val="600"/>
              </a:spcBef>
              <a:spcAft>
                <a:spcPts val="1200"/>
              </a:spcAft>
            </a:pPr>
            <a:r>
              <a:rPr lang="en-US" sz="2400" dirty="0"/>
              <a:t>Inconsistency in resolving behavior.</a:t>
            </a:r>
          </a:p>
        </p:txBody>
      </p:sp>
      <p:pic>
        <p:nvPicPr>
          <p:cNvPr id="10" name="Picture 9"/>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l="15218" r="13867"/>
          <a:stretch/>
        </p:blipFill>
        <p:spPr>
          <a:xfrm>
            <a:off x="7282927" y="3385483"/>
            <a:ext cx="4173968" cy="3101922"/>
          </a:xfrm>
          <a:prstGeom prst="rect">
            <a:avLst/>
          </a:prstGeom>
        </p:spPr>
      </p:pic>
      <p:sp>
        <p:nvSpPr>
          <p:cNvPr id="3" name="Title 2"/>
          <p:cNvSpPr>
            <a:spLocks noGrp="1"/>
          </p:cNvSpPr>
          <p:nvPr>
            <p:ph type="title"/>
          </p:nvPr>
        </p:nvSpPr>
        <p:spPr/>
        <p:txBody>
          <a:bodyPr/>
          <a:lstStyle/>
          <a:p>
            <a:r>
              <a:rPr lang="en-US" dirty="0"/>
              <a:t>Prevalence and magnitude (continued)</a:t>
            </a:r>
          </a:p>
        </p:txBody>
      </p:sp>
      <p:sp>
        <p:nvSpPr>
          <p:cNvPr id="5" name="Text Placeholder 4"/>
          <p:cNvSpPr>
            <a:spLocks noGrp="1"/>
          </p:cNvSpPr>
          <p:nvPr>
            <p:ph type="body" sz="quarter" idx="15"/>
          </p:nvPr>
        </p:nvSpPr>
        <p:spPr/>
        <p:txBody>
          <a:bodyPr/>
          <a:lstStyle/>
          <a:p>
            <a:r>
              <a:rPr lang="en-US" dirty="0"/>
              <a:t>Reynolds, N. (2012). Disruptive physician behavior: Use and misuse of the label. </a:t>
            </a:r>
            <a:r>
              <a:rPr lang="en-US" i="1" dirty="0"/>
              <a:t>Journal of Medical Regulation, 98</a:t>
            </a:r>
            <a:r>
              <a:rPr lang="en-US" dirty="0"/>
              <a:t>(1). </a:t>
            </a:r>
          </a:p>
        </p:txBody>
      </p:sp>
      <p:sp>
        <p:nvSpPr>
          <p:cNvPr id="2" name="Slide Number Placeholder 1"/>
          <p:cNvSpPr>
            <a:spLocks noGrp="1"/>
          </p:cNvSpPr>
          <p:nvPr>
            <p:ph type="sldNum" sz="quarter" idx="14"/>
          </p:nvPr>
        </p:nvSpPr>
        <p:spPr/>
        <p:txBody>
          <a:bodyPr/>
          <a:lstStyle/>
          <a:p>
            <a:fld id="{DA135043-C596-1A48-8BDA-03EB29A64DF4}" type="slidenum">
              <a:rPr lang="en-US" smtClean="0"/>
              <a:pPr/>
              <a:t>16</a:t>
            </a:fld>
            <a:endParaRPr lang="en-US" dirty="0"/>
          </a:p>
        </p:txBody>
      </p:sp>
    </p:spTree>
    <p:custDataLst>
      <p:tags r:id="rId1"/>
    </p:custDataLst>
    <p:extLst>
      <p:ext uri="{BB962C8B-B14F-4D97-AF65-F5344CB8AC3E}">
        <p14:creationId xmlns:p14="http://schemas.microsoft.com/office/powerpoint/2010/main" val="30770749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tential indicators of disruptive behavior</a:t>
            </a:r>
          </a:p>
        </p:txBody>
      </p:sp>
      <p:sp>
        <p:nvSpPr>
          <p:cNvPr id="4" name="Text Placeholder 3"/>
          <p:cNvSpPr>
            <a:spLocks noGrp="1"/>
          </p:cNvSpPr>
          <p:nvPr>
            <p:ph type="body" sz="quarter" idx="14"/>
          </p:nvPr>
        </p:nvSpPr>
        <p:spPr/>
        <p:txBody>
          <a:bodyPr/>
          <a:lstStyle/>
          <a:p>
            <a:r>
              <a:rPr lang="en-US" dirty="0"/>
              <a:t>Cascella, L. M. (2021). </a:t>
            </a:r>
            <a:r>
              <a:rPr lang="en-US" i="1" dirty="0"/>
              <a:t>Red flags for disruptive behavior in healthcare professionals. </a:t>
            </a:r>
            <a:r>
              <a:rPr lang="en-US" dirty="0" err="1"/>
              <a:t>MedPro</a:t>
            </a:r>
            <a:r>
              <a:rPr lang="en-US" dirty="0"/>
              <a:t> Group. Retrieved from </a:t>
            </a:r>
            <a:r>
              <a:rPr lang="en-US" dirty="0">
                <a:hlinkClick r:id="rId4"/>
              </a:rPr>
              <a:t>www.medpro.com/disruptive-behavior-red-flags-healthcare-professionals</a:t>
            </a:r>
            <a:r>
              <a:rPr lang="en-US" dirty="0"/>
              <a:t> </a:t>
            </a:r>
          </a:p>
        </p:txBody>
      </p:sp>
      <p:graphicFrame>
        <p:nvGraphicFramePr>
          <p:cNvPr id="6" name="Diagram 5"/>
          <p:cNvGraphicFramePr/>
          <p:nvPr>
            <p:extLst>
              <p:ext uri="{D42A27DB-BD31-4B8C-83A1-F6EECF244321}">
                <p14:modId xmlns:p14="http://schemas.microsoft.com/office/powerpoint/2010/main" val="3038985282"/>
              </p:ext>
            </p:extLst>
          </p:nvPr>
        </p:nvGraphicFramePr>
        <p:xfrm>
          <a:off x="786003" y="942594"/>
          <a:ext cx="10527741"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 name="Slide Number Placeholder 4"/>
          <p:cNvSpPr>
            <a:spLocks noGrp="1"/>
          </p:cNvSpPr>
          <p:nvPr>
            <p:ph type="sldNum" sz="quarter" idx="12"/>
          </p:nvPr>
        </p:nvSpPr>
        <p:spPr/>
        <p:txBody>
          <a:bodyPr/>
          <a:lstStyle/>
          <a:p>
            <a:fld id="{DA135043-C596-1A48-8BDA-03EB29A64DF4}" type="slidenum">
              <a:rPr lang="en-US" smtClean="0"/>
              <a:t>17</a:t>
            </a:fld>
            <a:endParaRPr lang="en-US" dirty="0"/>
          </a:p>
        </p:txBody>
      </p:sp>
      <p:pic>
        <p:nvPicPr>
          <p:cNvPr id="7" name="Picture 6"/>
          <p:cNvPicPr>
            <a:picLocks noChangeAspect="1"/>
          </p:cNvPicPr>
          <p:nvPr/>
        </p:nvPicPr>
        <p:blipFill rotWithShape="1">
          <a:blip r:embed="rId10">
            <a:extLst>
              <a:ext uri="{28A0092B-C50C-407E-A947-70E740481C1C}">
                <a14:useLocalDpi xmlns:a14="http://schemas.microsoft.com/office/drawing/2010/main" val="0"/>
              </a:ext>
            </a:extLst>
          </a:blip>
          <a:srcRect l="16463" t="16412" r="14259" b="13687"/>
          <a:stretch/>
        </p:blipFill>
        <p:spPr>
          <a:xfrm>
            <a:off x="9405911" y="4788357"/>
            <a:ext cx="1556558" cy="1570582"/>
          </a:xfrm>
          <a:prstGeom prst="rect">
            <a:avLst/>
          </a:prstGeom>
        </p:spPr>
      </p:pic>
      <p:pic>
        <p:nvPicPr>
          <p:cNvPr id="9" name="Picture 8"/>
          <p:cNvPicPr>
            <a:picLocks noChangeAspect="1"/>
          </p:cNvPicPr>
          <p:nvPr/>
        </p:nvPicPr>
        <p:blipFill>
          <a:blip r:embed="rId11"/>
          <a:stretch>
            <a:fillRect/>
          </a:stretch>
        </p:blipFill>
        <p:spPr>
          <a:xfrm flipH="1">
            <a:off x="1026391" y="4788357"/>
            <a:ext cx="1554615" cy="1572904"/>
          </a:xfrm>
          <a:prstGeom prst="rect">
            <a:avLst/>
          </a:prstGeom>
        </p:spPr>
      </p:pic>
    </p:spTree>
    <p:custDataLst>
      <p:tags r:id="rId1"/>
    </p:custDataLst>
    <p:extLst>
      <p:ext uri="{BB962C8B-B14F-4D97-AF65-F5344CB8AC3E}">
        <p14:creationId xmlns:p14="http://schemas.microsoft.com/office/powerpoint/2010/main" val="15623781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ributing factors to disruptive behavior</a:t>
            </a:r>
          </a:p>
        </p:txBody>
      </p:sp>
      <p:sp>
        <p:nvSpPr>
          <p:cNvPr id="5" name="Text Placeholder 4"/>
          <p:cNvSpPr>
            <a:spLocks noGrp="1"/>
          </p:cNvSpPr>
          <p:nvPr>
            <p:ph type="body" sz="quarter" idx="15"/>
          </p:nvPr>
        </p:nvSpPr>
        <p:spPr/>
        <p:txBody>
          <a:bodyPr/>
          <a:lstStyle/>
          <a:p>
            <a:r>
              <a:rPr lang="en-US" dirty="0"/>
              <a:t>Reynolds, N. (2012). Disruptive physician behavior: Use and misuse of the label. </a:t>
            </a:r>
            <a:r>
              <a:rPr lang="en-US" i="1" dirty="0"/>
              <a:t>Journal of Medical Regulation, 98</a:t>
            </a:r>
            <a:r>
              <a:rPr lang="en-US" dirty="0"/>
              <a:t>(1). </a:t>
            </a:r>
          </a:p>
        </p:txBody>
      </p:sp>
      <p:sp>
        <p:nvSpPr>
          <p:cNvPr id="2" name="Slide Number Placeholder 1"/>
          <p:cNvSpPr>
            <a:spLocks noGrp="1"/>
          </p:cNvSpPr>
          <p:nvPr>
            <p:ph type="sldNum" sz="quarter" idx="14"/>
          </p:nvPr>
        </p:nvSpPr>
        <p:spPr/>
        <p:txBody>
          <a:bodyPr/>
          <a:lstStyle/>
          <a:p>
            <a:fld id="{DA135043-C596-1A48-8BDA-03EB29A64DF4}" type="slidenum">
              <a:rPr lang="en-US" smtClean="0"/>
              <a:pPr/>
              <a:t>18</a:t>
            </a:fld>
            <a:endParaRPr lang="en-US"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31541" y="1763356"/>
            <a:ext cx="4760459" cy="3570344"/>
          </a:xfrm>
          <a:prstGeom prst="rect">
            <a:avLst/>
          </a:prstGeom>
        </p:spPr>
      </p:pic>
      <p:graphicFrame>
        <p:nvGraphicFramePr>
          <p:cNvPr id="10" name="Diagram 9"/>
          <p:cNvGraphicFramePr/>
          <p:nvPr>
            <p:extLst>
              <p:ext uri="{D42A27DB-BD31-4B8C-83A1-F6EECF244321}">
                <p14:modId xmlns:p14="http://schemas.microsoft.com/office/powerpoint/2010/main" val="161666029"/>
              </p:ext>
            </p:extLst>
          </p:nvPr>
        </p:nvGraphicFramePr>
        <p:xfrm>
          <a:off x="419100" y="839195"/>
          <a:ext cx="6846266" cy="54186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extLst>
      <p:ext uri="{BB962C8B-B14F-4D97-AF65-F5344CB8AC3E}">
        <p14:creationId xmlns:p14="http://schemas.microsoft.com/office/powerpoint/2010/main" val="28206963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riggers contributing to disruptive behavior</a:t>
            </a:r>
          </a:p>
        </p:txBody>
      </p:sp>
      <p:sp>
        <p:nvSpPr>
          <p:cNvPr id="7" name="Text Placeholder 6"/>
          <p:cNvSpPr>
            <a:spLocks noGrp="1"/>
          </p:cNvSpPr>
          <p:nvPr>
            <p:ph type="body" sz="quarter" idx="14"/>
          </p:nvPr>
        </p:nvSpPr>
        <p:spPr/>
        <p:txBody>
          <a:bodyPr/>
          <a:lstStyle/>
          <a:p>
            <a:r>
              <a:rPr lang="en-US" dirty="0"/>
              <a:t>Bae, S.H., Dang, D., </a:t>
            </a:r>
            <a:r>
              <a:rPr lang="en-US" dirty="0" err="1"/>
              <a:t>Karlowicz</a:t>
            </a:r>
            <a:r>
              <a:rPr lang="en-US" dirty="0"/>
              <a:t>, K.A., &amp; Kim, M.T. (2020). Triggers contributing to health care clinicians’ disruptive behaviors. </a:t>
            </a:r>
            <a:r>
              <a:rPr lang="en-US" i="1" dirty="0"/>
              <a:t>Journal of Patient Safety, 16</a:t>
            </a:r>
            <a:r>
              <a:rPr lang="en-US" dirty="0"/>
              <a:t>(3), 1. </a:t>
            </a:r>
            <a:r>
              <a:rPr lang="en-US" dirty="0">
                <a:hlinkClick r:id="rId4"/>
              </a:rPr>
              <a:t>https://doi.org/10.1097/PTS.0000000000000288</a:t>
            </a:r>
            <a:r>
              <a:rPr lang="en-US" dirty="0"/>
              <a:t> </a:t>
            </a:r>
          </a:p>
        </p:txBody>
      </p:sp>
      <p:sp>
        <p:nvSpPr>
          <p:cNvPr id="6" name="Slide Number Placeholder 5"/>
          <p:cNvSpPr>
            <a:spLocks noGrp="1"/>
          </p:cNvSpPr>
          <p:nvPr>
            <p:ph type="sldNum" sz="quarter" idx="4294967295"/>
          </p:nvPr>
        </p:nvSpPr>
        <p:spPr>
          <a:xfrm>
            <a:off x="11636375" y="6423025"/>
            <a:ext cx="555625" cy="365125"/>
          </a:xfrm>
        </p:spPr>
        <p:txBody>
          <a:bodyPr/>
          <a:lstStyle/>
          <a:p>
            <a:fld id="{DA135043-C596-1A48-8BDA-03EB29A64DF4}" type="slidenum">
              <a:rPr lang="en-US" smtClean="0"/>
              <a:pPr/>
              <a:t>19</a:t>
            </a:fld>
            <a:endParaRPr lang="en-US" dirty="0"/>
          </a:p>
        </p:txBody>
      </p:sp>
      <p:grpSp>
        <p:nvGrpSpPr>
          <p:cNvPr id="10" name="Group 9"/>
          <p:cNvGrpSpPr/>
          <p:nvPr/>
        </p:nvGrpSpPr>
        <p:grpSpPr>
          <a:xfrm>
            <a:off x="98807" y="4753017"/>
            <a:ext cx="12093193" cy="1570289"/>
            <a:chOff x="98807" y="4685642"/>
            <a:chExt cx="12093193" cy="1570289"/>
          </a:xfrm>
        </p:grpSpPr>
        <p:pic>
          <p:nvPicPr>
            <p:cNvPr id="2" name="Picture 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98807" y="4685642"/>
              <a:ext cx="9230835" cy="1570289"/>
            </a:xfrm>
            <a:prstGeom prst="rect">
              <a:avLst/>
            </a:prstGeom>
          </p:spPr>
        </p:pic>
        <p:pic>
          <p:nvPicPr>
            <p:cNvPr id="9" name="Picture 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961165" y="4685642"/>
              <a:ext cx="9230835" cy="1570289"/>
            </a:xfrm>
            <a:prstGeom prst="rect">
              <a:avLst/>
            </a:prstGeom>
          </p:spPr>
        </p:pic>
      </p:grpSp>
      <p:grpSp>
        <p:nvGrpSpPr>
          <p:cNvPr id="22" name="Group 21"/>
          <p:cNvGrpSpPr/>
          <p:nvPr/>
        </p:nvGrpSpPr>
        <p:grpSpPr>
          <a:xfrm>
            <a:off x="513955" y="986974"/>
            <a:ext cx="10704066" cy="4332616"/>
            <a:chOff x="842701" y="966476"/>
            <a:chExt cx="10704066" cy="4332616"/>
          </a:xfrm>
        </p:grpSpPr>
        <p:sp>
          <p:nvSpPr>
            <p:cNvPr id="12" name="Freeform 11"/>
            <p:cNvSpPr/>
            <p:nvPr/>
          </p:nvSpPr>
          <p:spPr>
            <a:xfrm>
              <a:off x="842701" y="966476"/>
              <a:ext cx="3474720" cy="948298"/>
            </a:xfrm>
            <a:custGeom>
              <a:avLst/>
              <a:gdLst>
                <a:gd name="connsiteX0" fmla="*/ 0 w 2805411"/>
                <a:gd name="connsiteY0" fmla="*/ 0 h 948298"/>
                <a:gd name="connsiteX1" fmla="*/ 2805411 w 2805411"/>
                <a:gd name="connsiteY1" fmla="*/ 0 h 948298"/>
                <a:gd name="connsiteX2" fmla="*/ 2805411 w 2805411"/>
                <a:gd name="connsiteY2" fmla="*/ 948298 h 948298"/>
                <a:gd name="connsiteX3" fmla="*/ 0 w 2805411"/>
                <a:gd name="connsiteY3" fmla="*/ 948298 h 948298"/>
                <a:gd name="connsiteX4" fmla="*/ 0 w 2805411"/>
                <a:gd name="connsiteY4" fmla="*/ 0 h 948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5411" h="948298">
                  <a:moveTo>
                    <a:pt x="0" y="0"/>
                  </a:moveTo>
                  <a:lnTo>
                    <a:pt x="2805411" y="0"/>
                  </a:lnTo>
                  <a:lnTo>
                    <a:pt x="2805411" y="948298"/>
                  </a:lnTo>
                  <a:lnTo>
                    <a:pt x="0" y="9482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0688" tIns="60960" rIns="170688" bIns="60960" numCol="1" spcCol="1270" anchor="ctr" anchorCtr="0">
              <a:noAutofit/>
            </a:bodyPr>
            <a:lstStyle/>
            <a:p>
              <a:pPr lvl="0" algn="r" defTabSz="1066800">
                <a:lnSpc>
                  <a:spcPct val="90000"/>
                </a:lnSpc>
                <a:spcBef>
                  <a:spcPct val="0"/>
                </a:spcBef>
                <a:spcAft>
                  <a:spcPct val="35000"/>
                </a:spcAft>
              </a:pPr>
              <a:r>
                <a:rPr lang="en-US" sz="2400" kern="1200" dirty="0">
                  <a:solidFill>
                    <a:schemeClr val="tx2"/>
                  </a:solidFill>
                </a:rPr>
                <a:t>Intrapersonal (affects job performance)</a:t>
              </a:r>
            </a:p>
          </p:txBody>
        </p:sp>
        <p:grpSp>
          <p:nvGrpSpPr>
            <p:cNvPr id="21" name="Group 20"/>
            <p:cNvGrpSpPr/>
            <p:nvPr/>
          </p:nvGrpSpPr>
          <p:grpSpPr>
            <a:xfrm>
              <a:off x="842701" y="1013102"/>
              <a:ext cx="10704066" cy="4285990"/>
              <a:chOff x="842701" y="1013102"/>
              <a:chExt cx="10704066" cy="4285990"/>
            </a:xfrm>
          </p:grpSpPr>
          <p:sp>
            <p:nvSpPr>
              <p:cNvPr id="13" name="Left Brace 12"/>
              <p:cNvSpPr/>
              <p:nvPr/>
            </p:nvSpPr>
            <p:spPr>
              <a:xfrm>
                <a:off x="4317421" y="1013102"/>
                <a:ext cx="561082" cy="948298"/>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4" name="Freeform 13"/>
              <p:cNvSpPr/>
              <p:nvPr/>
            </p:nvSpPr>
            <p:spPr>
              <a:xfrm>
                <a:off x="5145967" y="1013102"/>
                <a:ext cx="6400800" cy="948298"/>
              </a:xfrm>
              <a:custGeom>
                <a:avLst/>
                <a:gdLst>
                  <a:gd name="connsiteX0" fmla="*/ 0 w 7630717"/>
                  <a:gd name="connsiteY0" fmla="*/ 0 h 948298"/>
                  <a:gd name="connsiteX1" fmla="*/ 7630717 w 7630717"/>
                  <a:gd name="connsiteY1" fmla="*/ 0 h 948298"/>
                  <a:gd name="connsiteX2" fmla="*/ 7630717 w 7630717"/>
                  <a:gd name="connsiteY2" fmla="*/ 948298 h 948298"/>
                  <a:gd name="connsiteX3" fmla="*/ 0 w 7630717"/>
                  <a:gd name="connsiteY3" fmla="*/ 948298 h 948298"/>
                  <a:gd name="connsiteX4" fmla="*/ 0 w 7630717"/>
                  <a:gd name="connsiteY4" fmla="*/ 0 h 948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717" h="948298">
                    <a:moveTo>
                      <a:pt x="0" y="0"/>
                    </a:moveTo>
                    <a:lnTo>
                      <a:pt x="7630717" y="0"/>
                    </a:lnTo>
                    <a:lnTo>
                      <a:pt x="7630717" y="948298"/>
                    </a:lnTo>
                    <a:lnTo>
                      <a:pt x="0" y="948298"/>
                    </a:lnTo>
                    <a:lnTo>
                      <a:pt x="0" y="0"/>
                    </a:lnTo>
                    <a:close/>
                  </a:path>
                </a:pathLst>
              </a:custGeom>
              <a:solidFill>
                <a:srgbClr val="002A8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marL="228600" lvl="1" indent="-228600" algn="l" defTabSz="1066800">
                  <a:lnSpc>
                    <a:spcPct val="100000"/>
                  </a:lnSpc>
                  <a:spcBef>
                    <a:spcPct val="0"/>
                  </a:spcBef>
                  <a:spcAft>
                    <a:spcPts val="1200"/>
                  </a:spcAft>
                  <a:buChar char="••"/>
                </a:pPr>
                <a:r>
                  <a:rPr lang="en-US" sz="2400" kern="1200" baseline="0" dirty="0"/>
                  <a:t>Lack of competency or fatigue</a:t>
                </a:r>
              </a:p>
            </p:txBody>
          </p:sp>
          <p:sp>
            <p:nvSpPr>
              <p:cNvPr id="15" name="Freeform 14"/>
              <p:cNvSpPr/>
              <p:nvPr/>
            </p:nvSpPr>
            <p:spPr>
              <a:xfrm>
                <a:off x="842701" y="2324299"/>
                <a:ext cx="3474720" cy="948298"/>
              </a:xfrm>
              <a:custGeom>
                <a:avLst/>
                <a:gdLst>
                  <a:gd name="connsiteX0" fmla="*/ 0 w 2805411"/>
                  <a:gd name="connsiteY0" fmla="*/ 0 h 948298"/>
                  <a:gd name="connsiteX1" fmla="*/ 2805411 w 2805411"/>
                  <a:gd name="connsiteY1" fmla="*/ 0 h 948298"/>
                  <a:gd name="connsiteX2" fmla="*/ 2805411 w 2805411"/>
                  <a:gd name="connsiteY2" fmla="*/ 948298 h 948298"/>
                  <a:gd name="connsiteX3" fmla="*/ 0 w 2805411"/>
                  <a:gd name="connsiteY3" fmla="*/ 948298 h 948298"/>
                  <a:gd name="connsiteX4" fmla="*/ 0 w 2805411"/>
                  <a:gd name="connsiteY4" fmla="*/ 0 h 948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5411" h="948298">
                    <a:moveTo>
                      <a:pt x="0" y="0"/>
                    </a:moveTo>
                    <a:lnTo>
                      <a:pt x="2805411" y="0"/>
                    </a:lnTo>
                    <a:lnTo>
                      <a:pt x="2805411" y="948298"/>
                    </a:lnTo>
                    <a:lnTo>
                      <a:pt x="0" y="94829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0688" tIns="60960" rIns="170688" bIns="60960" numCol="1" spcCol="1270" anchor="ctr" anchorCtr="0">
                <a:noAutofit/>
              </a:bodyPr>
              <a:lstStyle/>
              <a:p>
                <a:pPr lvl="0" algn="r" defTabSz="1066800">
                  <a:lnSpc>
                    <a:spcPct val="90000"/>
                  </a:lnSpc>
                  <a:spcBef>
                    <a:spcPct val="0"/>
                  </a:spcBef>
                  <a:spcAft>
                    <a:spcPct val="35000"/>
                  </a:spcAft>
                </a:pPr>
                <a:r>
                  <a:rPr lang="en-US" sz="2400" kern="1200" dirty="0">
                    <a:solidFill>
                      <a:schemeClr val="tx2"/>
                    </a:solidFill>
                  </a:rPr>
                  <a:t>Interpersonal (affects relationships)</a:t>
                </a:r>
              </a:p>
            </p:txBody>
          </p:sp>
          <p:sp>
            <p:nvSpPr>
              <p:cNvPr id="16" name="Left Brace 15"/>
              <p:cNvSpPr/>
              <p:nvPr/>
            </p:nvSpPr>
            <p:spPr>
              <a:xfrm>
                <a:off x="4317421" y="2132699"/>
                <a:ext cx="561082" cy="1540984"/>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7" name="Freeform 16"/>
              <p:cNvSpPr/>
              <p:nvPr/>
            </p:nvSpPr>
            <p:spPr>
              <a:xfrm>
                <a:off x="5145967" y="2084620"/>
                <a:ext cx="6400800" cy="1540984"/>
              </a:xfrm>
              <a:custGeom>
                <a:avLst/>
                <a:gdLst>
                  <a:gd name="connsiteX0" fmla="*/ 0 w 7630717"/>
                  <a:gd name="connsiteY0" fmla="*/ 0 h 1540984"/>
                  <a:gd name="connsiteX1" fmla="*/ 7630717 w 7630717"/>
                  <a:gd name="connsiteY1" fmla="*/ 0 h 1540984"/>
                  <a:gd name="connsiteX2" fmla="*/ 7630717 w 7630717"/>
                  <a:gd name="connsiteY2" fmla="*/ 1540984 h 1540984"/>
                  <a:gd name="connsiteX3" fmla="*/ 0 w 7630717"/>
                  <a:gd name="connsiteY3" fmla="*/ 1540984 h 1540984"/>
                  <a:gd name="connsiteX4" fmla="*/ 0 w 7630717"/>
                  <a:gd name="connsiteY4" fmla="*/ 0 h 1540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717" h="1540984">
                    <a:moveTo>
                      <a:pt x="0" y="0"/>
                    </a:moveTo>
                    <a:lnTo>
                      <a:pt x="7630717" y="0"/>
                    </a:lnTo>
                    <a:lnTo>
                      <a:pt x="7630717" y="1540984"/>
                    </a:lnTo>
                    <a:lnTo>
                      <a:pt x="0" y="1540984"/>
                    </a:lnTo>
                    <a:lnTo>
                      <a:pt x="0" y="0"/>
                    </a:lnTo>
                    <a:close/>
                  </a:path>
                </a:pathLst>
              </a:custGeom>
              <a:solidFill>
                <a:srgbClr val="0373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marL="228600" lvl="1" indent="-228600" algn="l" defTabSz="1066800">
                  <a:lnSpc>
                    <a:spcPct val="100000"/>
                  </a:lnSpc>
                  <a:spcBef>
                    <a:spcPct val="0"/>
                  </a:spcBef>
                  <a:spcAft>
                    <a:spcPts val="1200"/>
                  </a:spcAft>
                  <a:buChar char="••"/>
                </a:pPr>
                <a:r>
                  <a:rPr lang="en-US" sz="2400" kern="1200" baseline="0" dirty="0"/>
                  <a:t>Lack of leadership</a:t>
                </a:r>
              </a:p>
              <a:p>
                <a:pPr marL="228600" lvl="1" indent="-228600" algn="l" defTabSz="1066800">
                  <a:lnSpc>
                    <a:spcPct val="100000"/>
                  </a:lnSpc>
                  <a:spcBef>
                    <a:spcPct val="0"/>
                  </a:spcBef>
                  <a:spcAft>
                    <a:spcPts val="1200"/>
                  </a:spcAft>
                  <a:buChar char="••"/>
                </a:pPr>
                <a:r>
                  <a:rPr lang="en-US" sz="2400" kern="1200" baseline="0" dirty="0"/>
                  <a:t>Questioning providers about patient care</a:t>
                </a:r>
              </a:p>
              <a:p>
                <a:pPr marL="228600" lvl="1" indent="-228600" algn="l" defTabSz="1066800">
                  <a:lnSpc>
                    <a:spcPct val="100000"/>
                  </a:lnSpc>
                  <a:spcBef>
                    <a:spcPct val="0"/>
                  </a:spcBef>
                  <a:spcAft>
                    <a:spcPts val="0"/>
                  </a:spcAft>
                  <a:buChar char="••"/>
                </a:pPr>
                <a:r>
                  <a:rPr lang="en-US" sz="2400" kern="1200" baseline="0" dirty="0"/>
                  <a:t>Staff diversity</a:t>
                </a:r>
              </a:p>
            </p:txBody>
          </p:sp>
          <p:sp>
            <p:nvSpPr>
              <p:cNvPr id="18" name="Freeform 17"/>
              <p:cNvSpPr/>
              <p:nvPr/>
            </p:nvSpPr>
            <p:spPr>
              <a:xfrm>
                <a:off x="842701" y="3829074"/>
                <a:ext cx="3474720" cy="1361659"/>
              </a:xfrm>
              <a:custGeom>
                <a:avLst/>
                <a:gdLst>
                  <a:gd name="connsiteX0" fmla="*/ 0 w 2805411"/>
                  <a:gd name="connsiteY0" fmla="*/ 0 h 1361659"/>
                  <a:gd name="connsiteX1" fmla="*/ 2805411 w 2805411"/>
                  <a:gd name="connsiteY1" fmla="*/ 0 h 1361659"/>
                  <a:gd name="connsiteX2" fmla="*/ 2805411 w 2805411"/>
                  <a:gd name="connsiteY2" fmla="*/ 1361659 h 1361659"/>
                  <a:gd name="connsiteX3" fmla="*/ 0 w 2805411"/>
                  <a:gd name="connsiteY3" fmla="*/ 1361659 h 1361659"/>
                  <a:gd name="connsiteX4" fmla="*/ 0 w 2805411"/>
                  <a:gd name="connsiteY4" fmla="*/ 0 h 13616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5411" h="1361659">
                    <a:moveTo>
                      <a:pt x="0" y="0"/>
                    </a:moveTo>
                    <a:lnTo>
                      <a:pt x="2805411" y="0"/>
                    </a:lnTo>
                    <a:lnTo>
                      <a:pt x="2805411" y="1361659"/>
                    </a:lnTo>
                    <a:lnTo>
                      <a:pt x="0" y="13616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0688" tIns="60960" rIns="170688" bIns="60960" numCol="1" spcCol="1270" anchor="ctr" anchorCtr="0">
                <a:noAutofit/>
              </a:bodyPr>
              <a:lstStyle/>
              <a:p>
                <a:pPr lvl="0" algn="r" defTabSz="1066800">
                  <a:lnSpc>
                    <a:spcPct val="90000"/>
                  </a:lnSpc>
                  <a:spcBef>
                    <a:spcPct val="0"/>
                  </a:spcBef>
                  <a:spcAft>
                    <a:spcPct val="35000"/>
                  </a:spcAft>
                </a:pPr>
                <a:r>
                  <a:rPr lang="en-US" sz="2400" kern="1200" dirty="0">
                    <a:solidFill>
                      <a:schemeClr val="tx2"/>
                    </a:solidFill>
                  </a:rPr>
                  <a:t>Organizational (inhibits interactions at work)</a:t>
                </a:r>
              </a:p>
            </p:txBody>
          </p:sp>
          <p:sp>
            <p:nvSpPr>
              <p:cNvPr id="19" name="Left Brace 18"/>
              <p:cNvSpPr/>
              <p:nvPr/>
            </p:nvSpPr>
            <p:spPr>
              <a:xfrm>
                <a:off x="4317421" y="3767226"/>
                <a:ext cx="561082" cy="1531866"/>
              </a:xfrm>
              <a:prstGeom prst="leftBrace">
                <a:avLst>
                  <a:gd name="adj1" fmla="val 35000"/>
                  <a:gd name="adj2" fmla="val 50000"/>
                </a:avLst>
              </a:prstGeom>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20" name="Freeform 19"/>
              <p:cNvSpPr/>
              <p:nvPr/>
            </p:nvSpPr>
            <p:spPr>
              <a:xfrm>
                <a:off x="5145967" y="3743970"/>
                <a:ext cx="6400800" cy="1531866"/>
              </a:xfrm>
              <a:custGeom>
                <a:avLst/>
                <a:gdLst>
                  <a:gd name="connsiteX0" fmla="*/ 0 w 7630717"/>
                  <a:gd name="connsiteY0" fmla="*/ 0 h 1531866"/>
                  <a:gd name="connsiteX1" fmla="*/ 7630717 w 7630717"/>
                  <a:gd name="connsiteY1" fmla="*/ 0 h 1531866"/>
                  <a:gd name="connsiteX2" fmla="*/ 7630717 w 7630717"/>
                  <a:gd name="connsiteY2" fmla="*/ 1531866 h 1531866"/>
                  <a:gd name="connsiteX3" fmla="*/ 0 w 7630717"/>
                  <a:gd name="connsiteY3" fmla="*/ 1531866 h 1531866"/>
                  <a:gd name="connsiteX4" fmla="*/ 0 w 7630717"/>
                  <a:gd name="connsiteY4" fmla="*/ 0 h 1531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717" h="1531866">
                    <a:moveTo>
                      <a:pt x="0" y="0"/>
                    </a:moveTo>
                    <a:lnTo>
                      <a:pt x="7630717" y="0"/>
                    </a:lnTo>
                    <a:lnTo>
                      <a:pt x="7630717" y="1531866"/>
                    </a:lnTo>
                    <a:lnTo>
                      <a:pt x="0" y="1531866"/>
                    </a:lnTo>
                    <a:lnTo>
                      <a:pt x="0" y="0"/>
                    </a:lnTo>
                    <a:close/>
                  </a:path>
                </a:pathLst>
              </a:custGeom>
              <a:solidFill>
                <a:schemeClr val="accent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1440" tIns="91440" rIns="91440" bIns="91440" numCol="1" spcCol="1270" anchor="ctr" anchorCtr="0">
                <a:noAutofit/>
              </a:bodyPr>
              <a:lstStyle/>
              <a:p>
                <a:pPr marL="228600" lvl="1" indent="-228600" algn="l" defTabSz="1066800">
                  <a:lnSpc>
                    <a:spcPct val="100000"/>
                  </a:lnSpc>
                  <a:spcBef>
                    <a:spcPct val="0"/>
                  </a:spcBef>
                  <a:spcAft>
                    <a:spcPts val="1200"/>
                  </a:spcAft>
                  <a:buChar char="••"/>
                </a:pPr>
                <a:r>
                  <a:rPr lang="en-US" sz="2400" kern="1200" baseline="0" dirty="0"/>
                  <a:t>Systems</a:t>
                </a:r>
              </a:p>
              <a:p>
                <a:pPr marL="228600" lvl="1" indent="-228600" algn="l" defTabSz="1066800">
                  <a:lnSpc>
                    <a:spcPct val="100000"/>
                  </a:lnSpc>
                  <a:spcBef>
                    <a:spcPct val="0"/>
                  </a:spcBef>
                  <a:spcAft>
                    <a:spcPts val="1200"/>
                  </a:spcAft>
                  <a:buChar char="••"/>
                </a:pPr>
                <a:r>
                  <a:rPr lang="en-US" sz="2400" kern="1200" baseline="0"/>
                  <a:t>Processes</a:t>
                </a:r>
                <a:endParaRPr lang="en-US" sz="2400" kern="1200" baseline="0" dirty="0"/>
              </a:p>
              <a:p>
                <a:pPr marL="228600" lvl="1" indent="-228600" algn="l" defTabSz="1066800">
                  <a:lnSpc>
                    <a:spcPct val="100000"/>
                  </a:lnSpc>
                  <a:spcBef>
                    <a:spcPct val="0"/>
                  </a:spcBef>
                  <a:spcAft>
                    <a:spcPts val="0"/>
                  </a:spcAft>
                  <a:buChar char="••"/>
                </a:pPr>
                <a:r>
                  <a:rPr lang="en-US" sz="2400" kern="1200" baseline="0"/>
                  <a:t>Culture</a:t>
                </a:r>
                <a:endParaRPr lang="en-US" sz="2400" kern="1200" baseline="0" dirty="0"/>
              </a:p>
            </p:txBody>
          </p:sp>
        </p:grpSp>
      </p:grpSp>
    </p:spTree>
    <p:custDataLst>
      <p:tags r:id="rId1"/>
    </p:custDataLst>
    <p:extLst>
      <p:ext uri="{BB962C8B-B14F-4D97-AF65-F5344CB8AC3E}">
        <p14:creationId xmlns:p14="http://schemas.microsoft.com/office/powerpoint/2010/main" val="187479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normAutofit/>
          </a:bodyPr>
          <a:lstStyle/>
          <a:p>
            <a:r>
              <a:rPr lang="en-US" dirty="0"/>
              <a:t>Speaker bio</a:t>
            </a:r>
          </a:p>
        </p:txBody>
      </p:sp>
      <p:sp>
        <p:nvSpPr>
          <p:cNvPr id="10" name="TextBox 1"/>
          <p:cNvSpPr txBox="1">
            <a:spLocks noChangeArrowheads="1"/>
          </p:cNvSpPr>
          <p:nvPr/>
        </p:nvSpPr>
        <p:spPr bwMode="auto">
          <a:xfrm>
            <a:off x="414731" y="1329817"/>
            <a:ext cx="9073368" cy="66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4625" eaLnBrk="0" hangingPunct="0">
              <a:spcBef>
                <a:spcPct val="20000"/>
              </a:spcBef>
              <a:buClr>
                <a:srgbClr val="3C3C3B"/>
              </a:buClr>
              <a:buFont typeface="Arial" charset="0"/>
              <a:buChar char="•"/>
              <a:defRPr sz="2500">
                <a:solidFill>
                  <a:schemeClr val="tx1"/>
                </a:solidFill>
                <a:latin typeface="Tahoma" pitchFamily="34" charset="0"/>
                <a:cs typeface="Tahoma" pitchFamily="34" charset="0"/>
              </a:defRPr>
            </a:lvl1pPr>
            <a:lvl2pPr marL="742950" indent="-285750" eaLnBrk="0" hangingPunct="0">
              <a:spcBef>
                <a:spcPct val="20000"/>
              </a:spcBef>
              <a:buFont typeface="Arial" charset="0"/>
              <a:buChar char="•"/>
              <a:defRPr sz="2300">
                <a:solidFill>
                  <a:schemeClr val="tx1"/>
                </a:solidFill>
                <a:latin typeface="Tahoma" pitchFamily="34" charset="0"/>
                <a:cs typeface="Tahoma" pitchFamily="34" charset="0"/>
              </a:defRPr>
            </a:lvl2pPr>
            <a:lvl3pPr marL="1143000" indent="-228600" eaLnBrk="0" hangingPunct="0">
              <a:spcBef>
                <a:spcPct val="20000"/>
              </a:spcBef>
              <a:buFont typeface="Arial" charset="0"/>
              <a:buChar char="•"/>
              <a:defRPr sz="2200">
                <a:solidFill>
                  <a:schemeClr val="tx1"/>
                </a:solidFill>
                <a:latin typeface="Tahoma" pitchFamily="34" charset="0"/>
                <a:cs typeface="Tahoma" pitchFamily="34" charset="0"/>
              </a:defRPr>
            </a:lvl3pPr>
            <a:lvl4pPr marL="1600200" indent="-228600" eaLnBrk="0" hangingPunct="0">
              <a:spcBef>
                <a:spcPct val="20000"/>
              </a:spcBef>
              <a:buFont typeface="Arial" charset="0"/>
              <a:buChar char="–"/>
              <a:defRPr sz="2100">
                <a:solidFill>
                  <a:schemeClr val="tx1"/>
                </a:solidFill>
                <a:latin typeface="Tahoma" pitchFamily="34" charset="0"/>
                <a:cs typeface="Tahoma" pitchFamily="34" charset="0"/>
              </a:defRPr>
            </a:lvl4pPr>
            <a:lvl5pPr marL="2057400" indent="-228600" eaLnBrk="0" hangingPunct="0">
              <a:spcBef>
                <a:spcPct val="20000"/>
              </a:spcBef>
              <a:buFont typeface="Arial" charset="0"/>
              <a:buChar char="»"/>
              <a:defRPr sz="2000">
                <a:solidFill>
                  <a:schemeClr val="tx1"/>
                </a:solidFill>
                <a:latin typeface="Tahoma" pitchFamily="34" charset="0"/>
                <a:cs typeface="Tahoma"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9pPr>
          </a:lstStyle>
          <a:p>
            <a:pPr marL="0" defTabSz="1219170" eaLnBrk="1" fontAlgn="base" hangingPunct="1">
              <a:spcBef>
                <a:spcPct val="0"/>
              </a:spcBef>
              <a:buClrTx/>
              <a:buNone/>
              <a:defRPr/>
            </a:pPr>
            <a:r>
              <a:rPr lang="en-US" altLang="en-US" sz="1800" b="1" dirty="0">
                <a:solidFill>
                  <a:schemeClr val="dk2"/>
                </a:solidFill>
                <a:latin typeface="+mn-lt"/>
                <a:cs typeface="Arial" panose="020B0604020202020204" pitchFamily="34" charset="0"/>
              </a:rPr>
              <a:t>Christine M. Hoskin, EdD, RN, CPHRM, NPD-BC, Assistant Vice President, Risk Solutions- Education Leader, MedPro Group (</a:t>
            </a:r>
            <a:r>
              <a:rPr lang="en-US" altLang="en-US" sz="1800" b="1" dirty="0">
                <a:solidFill>
                  <a:schemeClr val="dk2"/>
                </a:solidFill>
                <a:latin typeface="+mn-lt"/>
                <a:cs typeface="Arial" panose="020B0604020202020204" pitchFamily="34" charset="0"/>
                <a:hlinkClick r:id="rId4"/>
              </a:rPr>
              <a:t>Christine.Hoskin@medpro.com</a:t>
            </a:r>
            <a:r>
              <a:rPr lang="en-US" altLang="en-US" sz="1800" b="1" dirty="0">
                <a:solidFill>
                  <a:schemeClr val="dk2"/>
                </a:solidFill>
                <a:latin typeface="+mn-lt"/>
                <a:cs typeface="Arial" panose="020B0604020202020204" pitchFamily="34" charset="0"/>
              </a:rPr>
              <a:t>)</a:t>
            </a:r>
            <a:endParaRPr lang="en-US" sz="1800" dirty="0">
              <a:solidFill>
                <a:schemeClr val="dk2"/>
              </a:solidFill>
              <a:latin typeface="+mn-lt"/>
              <a:cs typeface="Arial" panose="020B0604020202020204" pitchFamily="34" charset="0"/>
            </a:endParaRPr>
          </a:p>
        </p:txBody>
      </p:sp>
      <p:pic>
        <p:nvPicPr>
          <p:cNvPr id="3" name="Picture 2"/>
          <p:cNvPicPr>
            <a:picLocks noChangeAspect="1"/>
          </p:cNvPicPr>
          <p:nvPr/>
        </p:nvPicPr>
        <p:blipFill rotWithShape="1">
          <a:blip r:embed="rId5" cstate="print">
            <a:extLst>
              <a:ext uri="{28A0092B-C50C-407E-A947-70E740481C1C}">
                <a14:useLocalDpi xmlns:a14="http://schemas.microsoft.com/office/drawing/2010/main" val="0"/>
              </a:ext>
            </a:extLst>
          </a:blip>
          <a:srcRect l="14354" r="13114"/>
          <a:stretch/>
        </p:blipFill>
        <p:spPr>
          <a:xfrm>
            <a:off x="9784080" y="538428"/>
            <a:ext cx="2071150" cy="2286000"/>
          </a:xfrm>
          <a:prstGeom prst="rect">
            <a:avLst/>
          </a:prstGeom>
        </p:spPr>
      </p:pic>
      <p:sp>
        <p:nvSpPr>
          <p:cNvPr id="4" name="TextBox 3"/>
          <p:cNvSpPr txBox="1"/>
          <p:nvPr/>
        </p:nvSpPr>
        <p:spPr>
          <a:xfrm>
            <a:off x="414731" y="2011680"/>
            <a:ext cx="9274755" cy="954300"/>
          </a:xfrm>
          <a:prstGeom prst="rect">
            <a:avLst/>
          </a:prstGeom>
          <a:noFill/>
        </p:spPr>
        <p:txBody>
          <a:bodyPr wrap="square" rtlCol="0">
            <a:spAutoFit/>
          </a:bodyPr>
          <a:lstStyle/>
          <a:p>
            <a:pPr>
              <a:spcAft>
                <a:spcPts val="800"/>
              </a:spcAft>
            </a:pPr>
            <a:r>
              <a:rPr lang="en-US" sz="1800" dirty="0">
                <a:solidFill>
                  <a:schemeClr val="dk2"/>
                </a:solidFill>
              </a:rPr>
              <a:t>Christine has been involved in risk and quality management throughout her career, providing oversight of clinical education, epidemiology, safety, accreditation, risk management, quality improvement, and nursing. </a:t>
            </a:r>
          </a:p>
        </p:txBody>
      </p:sp>
      <p:sp>
        <p:nvSpPr>
          <p:cNvPr id="5" name="TextBox 4"/>
          <p:cNvSpPr txBox="1"/>
          <p:nvPr/>
        </p:nvSpPr>
        <p:spPr>
          <a:xfrm>
            <a:off x="414731" y="4147365"/>
            <a:ext cx="11469315" cy="2185214"/>
          </a:xfrm>
          <a:prstGeom prst="rect">
            <a:avLst/>
          </a:prstGeom>
          <a:noFill/>
        </p:spPr>
        <p:txBody>
          <a:bodyPr wrap="square" rtlCol="0">
            <a:spAutoFit/>
          </a:bodyPr>
          <a:lstStyle/>
          <a:p>
            <a:pPr>
              <a:spcAft>
                <a:spcPts val="1200"/>
              </a:spcAft>
            </a:pPr>
            <a:r>
              <a:rPr lang="en-US" sz="1800" dirty="0">
                <a:solidFill>
                  <a:schemeClr val="dk2"/>
                </a:solidFill>
              </a:rPr>
              <a:t>In her role at MedPro, Christine leads the development of new continuing education for all lines of business, including physicians, dentists, nurses, healthcare professionals, facilities, hospitals, and senior care. She collaborates with the Risk Solutions team, division leadership, continuing education committee members, and other key individuals within the organization to facilitate the delivery of high-quality educational programs.</a:t>
            </a:r>
          </a:p>
          <a:p>
            <a:pPr>
              <a:spcAft>
                <a:spcPts val="1200"/>
              </a:spcAft>
            </a:pPr>
            <a:r>
              <a:rPr lang="en-US" sz="1800" dirty="0">
                <a:solidFill>
                  <a:schemeClr val="dk2"/>
                </a:solidFill>
              </a:rPr>
              <a:t>Christine is a registered nurse and certified professional in healthcare risk </a:t>
            </a:r>
            <a:r>
              <a:rPr lang="en-US" dirty="0">
                <a:solidFill>
                  <a:schemeClr val="dk2"/>
                </a:solidFill>
              </a:rPr>
              <a:t>m</a:t>
            </a:r>
            <a:r>
              <a:rPr lang="en-US" sz="1800" dirty="0">
                <a:solidFill>
                  <a:schemeClr val="dk2"/>
                </a:solidFill>
              </a:rPr>
              <a:t>anagement and nursing professional development. She earned her bachelor of science in nursing degree, master’s degree, and doctoral degree in education and healthcare leadership from Nebraska Methodist College. </a:t>
            </a:r>
          </a:p>
        </p:txBody>
      </p:sp>
      <p:sp>
        <p:nvSpPr>
          <p:cNvPr id="12" name="TextBox 11"/>
          <p:cNvSpPr txBox="1"/>
          <p:nvPr/>
        </p:nvSpPr>
        <p:spPr>
          <a:xfrm>
            <a:off x="361342" y="2916259"/>
            <a:ext cx="11469315" cy="1231106"/>
          </a:xfrm>
          <a:prstGeom prst="rect">
            <a:avLst/>
          </a:prstGeom>
          <a:noFill/>
        </p:spPr>
        <p:txBody>
          <a:bodyPr wrap="square" rtlCol="0">
            <a:spAutoFit/>
          </a:bodyPr>
          <a:lstStyle/>
          <a:p>
            <a:r>
              <a:rPr lang="en-US" sz="1800" dirty="0">
                <a:solidFill>
                  <a:schemeClr val="dk2"/>
                </a:solidFill>
              </a:rPr>
              <a:t>She has experience in a range of care settings — including both inpatient and outpatient facilities, primary care, specialty care, dental care, and rehabilitation — and with various patient populations. These opportunities have enabled Christine to develop a strong understanding of the challenges and opportunities facing healthcare providers and organizations. </a:t>
            </a:r>
          </a:p>
        </p:txBody>
      </p:sp>
    </p:spTree>
    <p:custDataLst>
      <p:tags r:id="rId1"/>
    </p:custDataLst>
    <p:extLst>
      <p:ext uri="{BB962C8B-B14F-4D97-AF65-F5344CB8AC3E}">
        <p14:creationId xmlns:p14="http://schemas.microsoft.com/office/powerpoint/2010/main" val="3206646993"/>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of disruptive behavior</a:t>
            </a:r>
          </a:p>
        </p:txBody>
      </p:sp>
      <p:sp>
        <p:nvSpPr>
          <p:cNvPr id="5" name="Slide Number Placeholder 4"/>
          <p:cNvSpPr>
            <a:spLocks noGrp="1"/>
          </p:cNvSpPr>
          <p:nvPr>
            <p:ph type="sldNum" sz="quarter" idx="12"/>
          </p:nvPr>
        </p:nvSpPr>
        <p:spPr/>
        <p:txBody>
          <a:bodyPr/>
          <a:lstStyle/>
          <a:p>
            <a:fld id="{DA135043-C596-1A48-8BDA-03EB29A64DF4}" type="slidenum">
              <a:rPr lang="en-US" smtClean="0"/>
              <a:pPr/>
              <a:t>20</a:t>
            </a:fld>
            <a:endParaRPr lang="en-US" dirty="0"/>
          </a:p>
        </p:txBody>
      </p:sp>
      <p:sp>
        <p:nvSpPr>
          <p:cNvPr id="4" name="Text Placeholder 3"/>
          <p:cNvSpPr>
            <a:spLocks noGrp="1"/>
          </p:cNvSpPr>
          <p:nvPr>
            <p:ph type="body" sz="quarter" idx="14"/>
          </p:nvPr>
        </p:nvSpPr>
        <p:spPr/>
        <p:txBody>
          <a:bodyPr/>
          <a:lstStyle/>
          <a:p>
            <a:r>
              <a:rPr lang="en-US" dirty="0"/>
              <a:t>Rehder, K. J., et al. (2020). Associations between a new disruptive behaviors scale and teamwork, patient safety, work-life balance, burnout, and depression. </a:t>
            </a:r>
            <a:r>
              <a:rPr lang="en-US" i="1" dirty="0"/>
              <a:t>The Joint Commission Journal on Quality and Patient Safety, 46</a:t>
            </a:r>
            <a:r>
              <a:rPr lang="en-US" dirty="0"/>
              <a:t>(1), 18-26. </a:t>
            </a:r>
            <a:r>
              <a:rPr lang="en-US" dirty="0">
                <a:hlinkClick r:id="rId4"/>
              </a:rPr>
              <a:t>https://doi.org/10.1016/j.jcjq.2019.09.004</a:t>
            </a:r>
            <a:r>
              <a:rPr lang="en-US" dirty="0"/>
              <a:t> </a:t>
            </a:r>
          </a:p>
        </p:txBody>
      </p:sp>
      <p:graphicFrame>
        <p:nvGraphicFramePr>
          <p:cNvPr id="6" name="Diagram 5"/>
          <p:cNvGraphicFramePr/>
          <p:nvPr>
            <p:extLst>
              <p:ext uri="{D42A27DB-BD31-4B8C-83A1-F6EECF244321}">
                <p14:modId xmlns:p14="http://schemas.microsoft.com/office/powerpoint/2010/main" val="647181475"/>
              </p:ext>
            </p:extLst>
          </p:nvPr>
        </p:nvGraphicFramePr>
        <p:xfrm>
          <a:off x="530611" y="1007281"/>
          <a:ext cx="11178169" cy="503667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733486" y="3393764"/>
            <a:ext cx="3975294" cy="2650196"/>
          </a:xfrm>
          <a:prstGeom prst="rect">
            <a:avLst/>
          </a:prstGeom>
        </p:spPr>
      </p:pic>
    </p:spTree>
    <p:custDataLst>
      <p:tags r:id="rId1"/>
    </p:custDataLst>
    <p:extLst>
      <p:ext uri="{BB962C8B-B14F-4D97-AF65-F5344CB8AC3E}">
        <p14:creationId xmlns:p14="http://schemas.microsoft.com/office/powerpoint/2010/main" val="800268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cal errors</a:t>
            </a:r>
          </a:p>
        </p:txBody>
      </p:sp>
      <p:sp>
        <p:nvSpPr>
          <p:cNvPr id="4" name="Text Placeholder 3"/>
          <p:cNvSpPr>
            <a:spLocks noGrp="1"/>
          </p:cNvSpPr>
          <p:nvPr>
            <p:ph type="body" sz="quarter" idx="14"/>
          </p:nvPr>
        </p:nvSpPr>
        <p:spPr/>
        <p:txBody>
          <a:bodyPr/>
          <a:lstStyle/>
          <a:p>
            <a:r>
              <a:rPr lang="en-US" dirty="0"/>
              <a:t>Hicks, S., &amp; </a:t>
            </a:r>
            <a:r>
              <a:rPr lang="en-US" dirty="0" err="1"/>
              <a:t>Stavropoulou</a:t>
            </a:r>
            <a:r>
              <a:rPr lang="en-US" dirty="0"/>
              <a:t>, C. (2020</a:t>
            </a:r>
            <a:r>
              <a:rPr lang="en-US" dirty="0">
                <a:sym typeface="Wingdings" panose="05000000000000000000" pitchFamily="2" charset="2"/>
              </a:rPr>
              <a:t>). The effect of health care professional disruptive behavior on patient care. </a:t>
            </a:r>
            <a:r>
              <a:rPr lang="en-US" i="1" dirty="0">
                <a:sym typeface="Wingdings" panose="05000000000000000000" pitchFamily="2" charset="2"/>
              </a:rPr>
              <a:t>Journal of Patient Safety</a:t>
            </a:r>
            <a:r>
              <a:rPr lang="en-US" dirty="0">
                <a:sym typeface="Wingdings" panose="05000000000000000000" pitchFamily="2" charset="2"/>
              </a:rPr>
              <a:t>. </a:t>
            </a:r>
            <a:r>
              <a:rPr lang="en-US" dirty="0" err="1">
                <a:sym typeface="Wingdings" panose="05000000000000000000" pitchFamily="2" charset="2"/>
              </a:rPr>
              <a:t>Epub</a:t>
            </a:r>
            <a:r>
              <a:rPr lang="en-US" dirty="0">
                <a:sym typeface="Wingdings" panose="05000000000000000000" pitchFamily="2" charset="2"/>
              </a:rPr>
              <a:t> Jan 5; </a:t>
            </a:r>
            <a:r>
              <a:rPr lang="en-US" dirty="0"/>
              <a:t> Schmidt, H.G., et al. (2016). Do patients’ disruptive behaviors influence the accuracy of a doctor’s diagnosis? A randomized experiment. </a:t>
            </a:r>
            <a:r>
              <a:rPr lang="en-US" i="1" dirty="0"/>
              <a:t>BMJ Quality &amp; Safety, 26</a:t>
            </a:r>
            <a:r>
              <a:rPr lang="en-US" dirty="0"/>
              <a:t>(1), 19-23. </a:t>
            </a:r>
            <a:r>
              <a:rPr lang="en-US">
                <a:hlinkClick r:id="rId4"/>
              </a:rPr>
              <a:t>https://doi.org/10.1136/bmjqs-2015-004109</a:t>
            </a:r>
            <a:r>
              <a:rPr lang="en-US" dirty="0"/>
              <a:t> </a:t>
            </a:r>
          </a:p>
        </p:txBody>
      </p:sp>
      <p:sp>
        <p:nvSpPr>
          <p:cNvPr id="19" name="Freeform 18"/>
          <p:cNvSpPr/>
          <p:nvPr/>
        </p:nvSpPr>
        <p:spPr>
          <a:xfrm>
            <a:off x="1757645" y="1131216"/>
            <a:ext cx="8998781" cy="1028942"/>
          </a:xfrm>
          <a:custGeom>
            <a:avLst/>
            <a:gdLst>
              <a:gd name="connsiteX0" fmla="*/ 0 w 7788753"/>
              <a:gd name="connsiteY0" fmla="*/ 0 h 1105444"/>
              <a:gd name="connsiteX1" fmla="*/ 7236031 w 7788753"/>
              <a:gd name="connsiteY1" fmla="*/ 0 h 1105444"/>
              <a:gd name="connsiteX2" fmla="*/ 7788753 w 7788753"/>
              <a:gd name="connsiteY2" fmla="*/ 552722 h 1105444"/>
              <a:gd name="connsiteX3" fmla="*/ 7236031 w 7788753"/>
              <a:gd name="connsiteY3" fmla="*/ 1105444 h 1105444"/>
              <a:gd name="connsiteX4" fmla="*/ 0 w 7788753"/>
              <a:gd name="connsiteY4" fmla="*/ 1105444 h 1105444"/>
              <a:gd name="connsiteX5" fmla="*/ 0 w 7788753"/>
              <a:gd name="connsiteY5" fmla="*/ 0 h 110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8753" h="1105444">
                <a:moveTo>
                  <a:pt x="7788753" y="1105443"/>
                </a:moveTo>
                <a:lnTo>
                  <a:pt x="552722" y="1105443"/>
                </a:lnTo>
                <a:lnTo>
                  <a:pt x="0" y="552722"/>
                </a:lnTo>
                <a:lnTo>
                  <a:pt x="552722" y="1"/>
                </a:lnTo>
                <a:lnTo>
                  <a:pt x="7788753" y="1"/>
                </a:lnTo>
                <a:lnTo>
                  <a:pt x="7788753" y="1105443"/>
                </a:lnTo>
                <a:close/>
              </a:path>
            </a:pathLst>
          </a:custGeom>
          <a:solidFill>
            <a:srgbClr val="02205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831" tIns="121921" rIns="227584" bIns="121921" numCol="1" spcCol="1270" anchor="ctr" anchorCtr="0">
            <a:noAutofit/>
          </a:bodyPr>
          <a:lstStyle/>
          <a:p>
            <a:pPr lvl="0" defTabSz="1422400">
              <a:lnSpc>
                <a:spcPct val="90000"/>
              </a:lnSpc>
              <a:spcBef>
                <a:spcPct val="0"/>
              </a:spcBef>
              <a:spcAft>
                <a:spcPct val="35000"/>
              </a:spcAft>
            </a:pPr>
            <a:r>
              <a:rPr lang="en-US" sz="2600" kern="1200" dirty="0"/>
              <a:t>More mistakes in diagnosis </a:t>
            </a:r>
          </a:p>
        </p:txBody>
      </p:sp>
      <p:sp>
        <p:nvSpPr>
          <p:cNvPr id="20" name="Oval 19"/>
          <p:cNvSpPr/>
          <p:nvPr/>
        </p:nvSpPr>
        <p:spPr>
          <a:xfrm>
            <a:off x="1243175" y="1131217"/>
            <a:ext cx="1028940" cy="1028940"/>
          </a:xfrm>
          <a:prstGeom prst="ellipse">
            <a:avLst/>
          </a:prstGeom>
          <a:solidFill>
            <a:srgbClr val="C9DCE6"/>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nchor="ctr"/>
          <a:lstStyle/>
          <a:p>
            <a:pPr algn="ctr"/>
            <a:endParaRPr lang="en-US" sz="2000" b="1" dirty="0">
              <a:solidFill>
                <a:schemeClr val="dk2"/>
              </a:solidFill>
            </a:endParaRPr>
          </a:p>
        </p:txBody>
      </p:sp>
      <p:sp>
        <p:nvSpPr>
          <p:cNvPr id="21" name="Freeform 20"/>
          <p:cNvSpPr/>
          <p:nvPr/>
        </p:nvSpPr>
        <p:spPr>
          <a:xfrm>
            <a:off x="1757645" y="2467302"/>
            <a:ext cx="8998781" cy="1028942"/>
          </a:xfrm>
          <a:custGeom>
            <a:avLst/>
            <a:gdLst>
              <a:gd name="connsiteX0" fmla="*/ 0 w 7788753"/>
              <a:gd name="connsiteY0" fmla="*/ 0 h 1105444"/>
              <a:gd name="connsiteX1" fmla="*/ 7236031 w 7788753"/>
              <a:gd name="connsiteY1" fmla="*/ 0 h 1105444"/>
              <a:gd name="connsiteX2" fmla="*/ 7788753 w 7788753"/>
              <a:gd name="connsiteY2" fmla="*/ 552722 h 1105444"/>
              <a:gd name="connsiteX3" fmla="*/ 7236031 w 7788753"/>
              <a:gd name="connsiteY3" fmla="*/ 1105444 h 1105444"/>
              <a:gd name="connsiteX4" fmla="*/ 0 w 7788753"/>
              <a:gd name="connsiteY4" fmla="*/ 1105444 h 1105444"/>
              <a:gd name="connsiteX5" fmla="*/ 0 w 7788753"/>
              <a:gd name="connsiteY5" fmla="*/ 0 h 110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8753" h="1105444">
                <a:moveTo>
                  <a:pt x="7788753" y="1105443"/>
                </a:moveTo>
                <a:lnTo>
                  <a:pt x="552722" y="1105443"/>
                </a:lnTo>
                <a:lnTo>
                  <a:pt x="0" y="552722"/>
                </a:lnTo>
                <a:lnTo>
                  <a:pt x="552722" y="1"/>
                </a:lnTo>
                <a:lnTo>
                  <a:pt x="7788753" y="1"/>
                </a:lnTo>
                <a:lnTo>
                  <a:pt x="7788753" y="1105443"/>
                </a:lnTo>
                <a:close/>
              </a:path>
            </a:pathLst>
          </a:custGeom>
          <a:solidFill>
            <a:srgbClr val="005EC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831" tIns="121921" rIns="227584" bIns="121921" numCol="1" spcCol="1270" anchor="ctr" anchorCtr="0">
            <a:noAutofit/>
          </a:bodyPr>
          <a:lstStyle/>
          <a:p>
            <a:pPr lvl="0" defTabSz="1422400">
              <a:lnSpc>
                <a:spcPct val="90000"/>
              </a:lnSpc>
              <a:spcBef>
                <a:spcPct val="0"/>
              </a:spcBef>
              <a:spcAft>
                <a:spcPct val="35000"/>
              </a:spcAft>
            </a:pPr>
            <a:r>
              <a:rPr lang="en-US" sz="2600" kern="1200" dirty="0"/>
              <a:t>Performance reduced when exposed to disruptive behavior</a:t>
            </a:r>
          </a:p>
        </p:txBody>
      </p:sp>
      <p:sp>
        <p:nvSpPr>
          <p:cNvPr id="22" name="Oval 21"/>
          <p:cNvSpPr/>
          <p:nvPr/>
        </p:nvSpPr>
        <p:spPr>
          <a:xfrm>
            <a:off x="1243175" y="2467303"/>
            <a:ext cx="1028940" cy="1028940"/>
          </a:xfrm>
          <a:prstGeom prst="ellipse">
            <a:avLst/>
          </a:prstGeom>
          <a:solidFill>
            <a:srgbClr val="C9DCE6"/>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23" name="Freeform 22"/>
          <p:cNvSpPr/>
          <p:nvPr/>
        </p:nvSpPr>
        <p:spPr>
          <a:xfrm>
            <a:off x="1807675" y="3803389"/>
            <a:ext cx="8998781" cy="1028942"/>
          </a:xfrm>
          <a:custGeom>
            <a:avLst/>
            <a:gdLst>
              <a:gd name="connsiteX0" fmla="*/ 0 w 7788753"/>
              <a:gd name="connsiteY0" fmla="*/ 0 h 1105444"/>
              <a:gd name="connsiteX1" fmla="*/ 7236031 w 7788753"/>
              <a:gd name="connsiteY1" fmla="*/ 0 h 1105444"/>
              <a:gd name="connsiteX2" fmla="*/ 7788753 w 7788753"/>
              <a:gd name="connsiteY2" fmla="*/ 552722 h 1105444"/>
              <a:gd name="connsiteX3" fmla="*/ 7236031 w 7788753"/>
              <a:gd name="connsiteY3" fmla="*/ 1105444 h 1105444"/>
              <a:gd name="connsiteX4" fmla="*/ 0 w 7788753"/>
              <a:gd name="connsiteY4" fmla="*/ 1105444 h 1105444"/>
              <a:gd name="connsiteX5" fmla="*/ 0 w 7788753"/>
              <a:gd name="connsiteY5" fmla="*/ 0 h 110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8753" h="1105444">
                <a:moveTo>
                  <a:pt x="7788753" y="1105443"/>
                </a:moveTo>
                <a:lnTo>
                  <a:pt x="552722" y="1105443"/>
                </a:lnTo>
                <a:lnTo>
                  <a:pt x="0" y="552722"/>
                </a:lnTo>
                <a:lnTo>
                  <a:pt x="552722" y="1"/>
                </a:lnTo>
                <a:lnTo>
                  <a:pt x="7788753" y="1"/>
                </a:lnTo>
                <a:lnTo>
                  <a:pt x="7788753" y="1105443"/>
                </a:lnTo>
                <a:close/>
              </a:path>
            </a:pathLst>
          </a:cu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831" tIns="121921" rIns="227584" bIns="121921" numCol="1" spcCol="1270" anchor="ctr" anchorCtr="0">
            <a:noAutofit/>
          </a:bodyPr>
          <a:lstStyle/>
          <a:p>
            <a:pPr lvl="0" defTabSz="1422400">
              <a:lnSpc>
                <a:spcPct val="90000"/>
              </a:lnSpc>
              <a:spcBef>
                <a:spcPct val="0"/>
              </a:spcBef>
              <a:spcAft>
                <a:spcPct val="35000"/>
              </a:spcAft>
            </a:pPr>
            <a:r>
              <a:rPr lang="en-US" sz="2600" kern="1200" dirty="0"/>
              <a:t>Higher risk of surgical and medical complications</a:t>
            </a:r>
          </a:p>
        </p:txBody>
      </p:sp>
      <p:sp>
        <p:nvSpPr>
          <p:cNvPr id="24" name="Oval 23"/>
          <p:cNvSpPr/>
          <p:nvPr/>
        </p:nvSpPr>
        <p:spPr>
          <a:xfrm>
            <a:off x="1243175" y="3803390"/>
            <a:ext cx="1028940" cy="1028940"/>
          </a:xfrm>
          <a:prstGeom prst="ellipse">
            <a:avLst/>
          </a:prstGeom>
          <a:solidFill>
            <a:srgbClr val="C9DCE6"/>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25" name="Freeform 24"/>
          <p:cNvSpPr/>
          <p:nvPr/>
        </p:nvSpPr>
        <p:spPr>
          <a:xfrm>
            <a:off x="1757645" y="5139475"/>
            <a:ext cx="8998781" cy="1028941"/>
          </a:xfrm>
          <a:custGeom>
            <a:avLst/>
            <a:gdLst>
              <a:gd name="connsiteX0" fmla="*/ 0 w 7788753"/>
              <a:gd name="connsiteY0" fmla="*/ 0 h 1105444"/>
              <a:gd name="connsiteX1" fmla="*/ 7236031 w 7788753"/>
              <a:gd name="connsiteY1" fmla="*/ 0 h 1105444"/>
              <a:gd name="connsiteX2" fmla="*/ 7788753 w 7788753"/>
              <a:gd name="connsiteY2" fmla="*/ 552722 h 1105444"/>
              <a:gd name="connsiteX3" fmla="*/ 7236031 w 7788753"/>
              <a:gd name="connsiteY3" fmla="*/ 1105444 h 1105444"/>
              <a:gd name="connsiteX4" fmla="*/ 0 w 7788753"/>
              <a:gd name="connsiteY4" fmla="*/ 1105444 h 1105444"/>
              <a:gd name="connsiteX5" fmla="*/ 0 w 7788753"/>
              <a:gd name="connsiteY5" fmla="*/ 0 h 110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88753" h="1105444">
                <a:moveTo>
                  <a:pt x="7788753" y="1105443"/>
                </a:moveTo>
                <a:lnTo>
                  <a:pt x="552722" y="1105443"/>
                </a:lnTo>
                <a:lnTo>
                  <a:pt x="0" y="552722"/>
                </a:lnTo>
                <a:lnTo>
                  <a:pt x="552722" y="1"/>
                </a:lnTo>
                <a:lnTo>
                  <a:pt x="7788753" y="1"/>
                </a:lnTo>
                <a:lnTo>
                  <a:pt x="7788753" y="1105443"/>
                </a:lnTo>
                <a:close/>
              </a:path>
            </a:pathLst>
          </a:cu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831" tIns="121921" rIns="227584" bIns="121920" numCol="1" spcCol="1270" anchor="ctr" anchorCtr="0">
            <a:noAutofit/>
          </a:bodyPr>
          <a:lstStyle/>
          <a:p>
            <a:pPr lvl="0" defTabSz="1422400">
              <a:lnSpc>
                <a:spcPct val="90000"/>
              </a:lnSpc>
              <a:spcBef>
                <a:spcPct val="0"/>
              </a:spcBef>
              <a:spcAft>
                <a:spcPct val="35000"/>
              </a:spcAft>
            </a:pPr>
            <a:r>
              <a:rPr lang="en-US" sz="2600" kern="1200" dirty="0"/>
              <a:t>If more than four behavioral reports, had higher complication risk</a:t>
            </a:r>
          </a:p>
        </p:txBody>
      </p:sp>
      <p:sp>
        <p:nvSpPr>
          <p:cNvPr id="26" name="Oval 25"/>
          <p:cNvSpPr/>
          <p:nvPr/>
        </p:nvSpPr>
        <p:spPr>
          <a:xfrm>
            <a:off x="1243175" y="5139476"/>
            <a:ext cx="1028940" cy="1028940"/>
          </a:xfrm>
          <a:prstGeom prst="ellipse">
            <a:avLst/>
          </a:prstGeom>
          <a:solidFill>
            <a:srgbClr val="C9DCE6"/>
          </a:solidFill>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28" name="TextBox 27"/>
          <p:cNvSpPr txBox="1"/>
          <p:nvPr/>
        </p:nvSpPr>
        <p:spPr>
          <a:xfrm>
            <a:off x="1408830" y="1461021"/>
            <a:ext cx="697627" cy="369332"/>
          </a:xfrm>
          <a:prstGeom prst="rect">
            <a:avLst/>
          </a:prstGeom>
          <a:noFill/>
        </p:spPr>
        <p:txBody>
          <a:bodyPr wrap="none" rtlCol="0">
            <a:spAutoFit/>
          </a:bodyPr>
          <a:lstStyle/>
          <a:p>
            <a:pPr algn="l">
              <a:lnSpc>
                <a:spcPct val="90000"/>
              </a:lnSpc>
            </a:pPr>
            <a:r>
              <a:rPr lang="en-US" sz="2000" b="1" dirty="0">
                <a:solidFill>
                  <a:schemeClr val="tx2"/>
                </a:solidFill>
              </a:rPr>
              <a:t>42%</a:t>
            </a:r>
          </a:p>
        </p:txBody>
      </p:sp>
      <p:sp>
        <p:nvSpPr>
          <p:cNvPr id="29" name="TextBox 28"/>
          <p:cNvSpPr txBox="1"/>
          <p:nvPr/>
        </p:nvSpPr>
        <p:spPr>
          <a:xfrm>
            <a:off x="1423468" y="3909000"/>
            <a:ext cx="697627" cy="923330"/>
          </a:xfrm>
          <a:prstGeom prst="rect">
            <a:avLst/>
          </a:prstGeom>
          <a:noFill/>
        </p:spPr>
        <p:txBody>
          <a:bodyPr wrap="none" rtlCol="0">
            <a:spAutoFit/>
          </a:bodyPr>
          <a:lstStyle/>
          <a:p>
            <a:pPr algn="l">
              <a:lnSpc>
                <a:spcPct val="90000"/>
              </a:lnSpc>
            </a:pPr>
            <a:r>
              <a:rPr lang="en-US" sz="2000" b="1" dirty="0">
                <a:solidFill>
                  <a:schemeClr val="dk2"/>
                </a:solidFill>
              </a:rPr>
              <a:t>11%</a:t>
            </a:r>
            <a:br>
              <a:rPr lang="en-US" sz="2000" b="1" dirty="0">
                <a:solidFill>
                  <a:schemeClr val="dk2"/>
                </a:solidFill>
              </a:rPr>
            </a:br>
            <a:r>
              <a:rPr lang="en-US" sz="2000" b="1" dirty="0">
                <a:solidFill>
                  <a:schemeClr val="dk2"/>
                </a:solidFill>
              </a:rPr>
              <a:t>   -</a:t>
            </a:r>
            <a:br>
              <a:rPr lang="en-US" sz="2000" b="1" dirty="0">
                <a:solidFill>
                  <a:schemeClr val="dk2"/>
                </a:solidFill>
              </a:rPr>
            </a:br>
            <a:r>
              <a:rPr lang="en-US" sz="2000" b="1" dirty="0">
                <a:solidFill>
                  <a:schemeClr val="dk2"/>
                </a:solidFill>
              </a:rPr>
              <a:t>14%</a:t>
            </a:r>
          </a:p>
        </p:txBody>
      </p:sp>
      <p:sp>
        <p:nvSpPr>
          <p:cNvPr id="30" name="TextBox 29"/>
          <p:cNvSpPr txBox="1"/>
          <p:nvPr/>
        </p:nvSpPr>
        <p:spPr>
          <a:xfrm>
            <a:off x="1316867" y="5475202"/>
            <a:ext cx="910827" cy="369332"/>
          </a:xfrm>
          <a:prstGeom prst="rect">
            <a:avLst/>
          </a:prstGeom>
          <a:noFill/>
        </p:spPr>
        <p:txBody>
          <a:bodyPr wrap="none" rtlCol="0">
            <a:spAutoFit/>
          </a:bodyPr>
          <a:lstStyle/>
          <a:p>
            <a:pPr algn="l">
              <a:lnSpc>
                <a:spcPct val="90000"/>
              </a:lnSpc>
            </a:pPr>
            <a:r>
              <a:rPr lang="en-US" sz="2000" b="1" dirty="0">
                <a:solidFill>
                  <a:schemeClr val="dk2"/>
                </a:solidFill>
              </a:rPr>
              <a:t>31.7%</a:t>
            </a:r>
          </a:p>
        </p:txBody>
      </p:sp>
      <p:sp>
        <p:nvSpPr>
          <p:cNvPr id="31" name="Down Arrow 30"/>
          <p:cNvSpPr/>
          <p:nvPr/>
        </p:nvSpPr>
        <p:spPr>
          <a:xfrm>
            <a:off x="1535340" y="2648329"/>
            <a:ext cx="444610" cy="678730"/>
          </a:xfrm>
          <a:prstGeom prst="downArrow">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 name="Slide Number Placeholder 4"/>
          <p:cNvSpPr>
            <a:spLocks noGrp="1"/>
          </p:cNvSpPr>
          <p:nvPr>
            <p:ph type="sldNum" sz="quarter" idx="12"/>
          </p:nvPr>
        </p:nvSpPr>
        <p:spPr/>
        <p:txBody>
          <a:bodyPr/>
          <a:lstStyle/>
          <a:p>
            <a:fld id="{DA135043-C596-1A48-8BDA-03EB29A64DF4}" type="slidenum">
              <a:rPr lang="en-US" smtClean="0"/>
              <a:pPr/>
              <a:t>21</a:t>
            </a:fld>
            <a:endParaRPr lang="en-US" dirty="0"/>
          </a:p>
        </p:txBody>
      </p:sp>
    </p:spTree>
    <p:custDataLst>
      <p:tags r:id="rId1"/>
    </p:custDataLst>
    <p:extLst>
      <p:ext uri="{BB962C8B-B14F-4D97-AF65-F5344CB8AC3E}">
        <p14:creationId xmlns:p14="http://schemas.microsoft.com/office/powerpoint/2010/main" val="243022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4" cstate="screen">
            <a:clrChange>
              <a:clrFrom>
                <a:srgbClr val="FFFFFF"/>
              </a:clrFrom>
              <a:clrTo>
                <a:srgbClr val="FFFFFF">
                  <a:alpha val="0"/>
                </a:srgbClr>
              </a:clrTo>
            </a:clrChange>
            <a:extLst>
              <a:ext uri="{BEBA8EAE-BF5A-486C-A8C5-ECC9F3942E4B}">
                <a14:imgProps xmlns:a14="http://schemas.microsoft.com/office/drawing/2010/main">
                  <a14:imgLayer r:embed="rId5">
                    <a14:imgEffect>
                      <a14:sharpenSoften amount="40000"/>
                    </a14:imgEffect>
                  </a14:imgLayer>
                </a14:imgProps>
              </a:ext>
              <a:ext uri="{28A0092B-C50C-407E-A947-70E740481C1C}">
                <a14:useLocalDpi xmlns:a14="http://schemas.microsoft.com/office/drawing/2010/main"/>
              </a:ext>
            </a:extLst>
          </a:blip>
          <a:srcRect t="7867" r="5926"/>
          <a:stretch/>
        </p:blipFill>
        <p:spPr>
          <a:xfrm>
            <a:off x="3450379" y="2810673"/>
            <a:ext cx="8304846" cy="3507949"/>
          </a:xfrm>
          <a:prstGeom prst="rect">
            <a:avLst/>
          </a:prstGeom>
        </p:spPr>
      </p:pic>
      <p:sp>
        <p:nvSpPr>
          <p:cNvPr id="2" name="Title 1"/>
          <p:cNvSpPr>
            <a:spLocks noGrp="1"/>
          </p:cNvSpPr>
          <p:nvPr>
            <p:ph type="title"/>
          </p:nvPr>
        </p:nvSpPr>
        <p:spPr/>
        <p:txBody>
          <a:bodyPr/>
          <a:lstStyle/>
          <a:p>
            <a:r>
              <a:rPr lang="en-US" dirty="0"/>
              <a:t>Decrease in patient satisfaction</a:t>
            </a:r>
          </a:p>
        </p:txBody>
      </p:sp>
      <p:sp>
        <p:nvSpPr>
          <p:cNvPr id="4" name="Text Placeholder 3"/>
          <p:cNvSpPr>
            <a:spLocks noGrp="1"/>
          </p:cNvSpPr>
          <p:nvPr>
            <p:ph type="body" sz="quarter" idx="14"/>
          </p:nvPr>
        </p:nvSpPr>
        <p:spPr>
          <a:xfrm>
            <a:off x="408623" y="6422472"/>
            <a:ext cx="11064240" cy="398072"/>
          </a:xfrm>
        </p:spPr>
        <p:txBody>
          <a:bodyPr/>
          <a:lstStyle/>
          <a:p>
            <a:r>
              <a:rPr lang="en-US" dirty="0"/>
              <a:t>Hickson, G.B., et al. (2007). Patient complaints and malpractice risk in a regional healthcare center. </a:t>
            </a:r>
            <a:r>
              <a:rPr lang="en-US" i="1" dirty="0"/>
              <a:t>Southern Medical Journal, 100</a:t>
            </a:r>
            <a:r>
              <a:rPr lang="en-US" dirty="0"/>
              <a:t>(8), 791-796. </a:t>
            </a:r>
            <a:r>
              <a:rPr lang="en-US" dirty="0">
                <a:hlinkClick r:id="rId6"/>
              </a:rPr>
              <a:t>https://doi.org/10.1097/SMJ.0b013e318063bd75</a:t>
            </a:r>
            <a:r>
              <a:rPr lang="en-US" dirty="0"/>
              <a:t>; Moore, I., </a:t>
            </a:r>
            <a:r>
              <a:rPr lang="en-US" dirty="0" err="1"/>
              <a:t>Pichert</a:t>
            </a:r>
            <a:r>
              <a:rPr lang="en-US" dirty="0"/>
              <a:t>, J., Hickson, G., &amp; </a:t>
            </a:r>
            <a:r>
              <a:rPr lang="en-US" dirty="0" err="1"/>
              <a:t>Federspiel</a:t>
            </a:r>
            <a:r>
              <a:rPr lang="en-US" dirty="0"/>
              <a:t>, C. (2006). Rethinking peer review: Detecting and addressing medical malpractice claims risk. </a:t>
            </a:r>
            <a:r>
              <a:rPr lang="en-US" i="1" dirty="0"/>
              <a:t>Vanderbilt Law Review, 59</a:t>
            </a:r>
            <a:r>
              <a:rPr lang="en-US" dirty="0"/>
              <a:t>(4), 1,175−1,206; Hickson, G.B., et al. (2002) . Patient complaints and malpractice risk. </a:t>
            </a:r>
            <a:r>
              <a:rPr lang="en-US" i="1" dirty="0"/>
              <a:t>JAMA,</a:t>
            </a:r>
            <a:r>
              <a:rPr lang="en-US" dirty="0"/>
              <a:t> </a:t>
            </a:r>
            <a:r>
              <a:rPr lang="en-US" i="1" dirty="0"/>
              <a:t>287</a:t>
            </a:r>
            <a:r>
              <a:rPr lang="en-US" dirty="0"/>
              <a:t>(22), 2,951-2,957.</a:t>
            </a:r>
          </a:p>
        </p:txBody>
      </p:sp>
      <p:sp>
        <p:nvSpPr>
          <p:cNvPr id="5" name="Slide Number Placeholder 4"/>
          <p:cNvSpPr>
            <a:spLocks noGrp="1"/>
          </p:cNvSpPr>
          <p:nvPr>
            <p:ph type="sldNum" sz="quarter" idx="12"/>
          </p:nvPr>
        </p:nvSpPr>
        <p:spPr/>
        <p:txBody>
          <a:bodyPr/>
          <a:lstStyle/>
          <a:p>
            <a:fld id="{DA135043-C596-1A48-8BDA-03EB29A64DF4}" type="slidenum">
              <a:rPr lang="en-US" smtClean="0"/>
              <a:t>22</a:t>
            </a:fld>
            <a:endParaRPr lang="en-US" dirty="0"/>
          </a:p>
        </p:txBody>
      </p:sp>
      <p:graphicFrame>
        <p:nvGraphicFramePr>
          <p:cNvPr id="6" name="Content Placeholder 3"/>
          <p:cNvGraphicFramePr>
            <a:graphicFrameLocks/>
          </p:cNvGraphicFramePr>
          <p:nvPr>
            <p:extLst>
              <p:ext uri="{D42A27DB-BD31-4B8C-83A1-F6EECF244321}">
                <p14:modId xmlns:p14="http://schemas.microsoft.com/office/powerpoint/2010/main" val="254635827"/>
              </p:ext>
            </p:extLst>
          </p:nvPr>
        </p:nvGraphicFramePr>
        <p:xfrm>
          <a:off x="544453" y="1084372"/>
          <a:ext cx="8493222" cy="3484812"/>
        </p:xfrm>
        <a:graphic>
          <a:graphicData uri="http://schemas.openxmlformats.org/drawingml/2006/table">
            <a:tbl>
              <a:tblPr firstRow="1" bandRow="1">
                <a:tableStyleId>{9DCAF9ED-07DC-4A11-8D7F-57B35C25682E}</a:tableStyleId>
              </a:tblPr>
              <a:tblGrid>
                <a:gridCol w="1880153">
                  <a:extLst>
                    <a:ext uri="{9D8B030D-6E8A-4147-A177-3AD203B41FA5}">
                      <a16:colId xmlns:a16="http://schemas.microsoft.com/office/drawing/2014/main" val="1779369423"/>
                    </a:ext>
                  </a:extLst>
                </a:gridCol>
                <a:gridCol w="1867668">
                  <a:extLst>
                    <a:ext uri="{9D8B030D-6E8A-4147-A177-3AD203B41FA5}">
                      <a16:colId xmlns:a16="http://schemas.microsoft.com/office/drawing/2014/main" val="2060501242"/>
                    </a:ext>
                  </a:extLst>
                </a:gridCol>
                <a:gridCol w="1638975">
                  <a:extLst>
                    <a:ext uri="{9D8B030D-6E8A-4147-A177-3AD203B41FA5}">
                      <a16:colId xmlns:a16="http://schemas.microsoft.com/office/drawing/2014/main" val="2261066917"/>
                    </a:ext>
                  </a:extLst>
                </a:gridCol>
                <a:gridCol w="1562740">
                  <a:extLst>
                    <a:ext uri="{9D8B030D-6E8A-4147-A177-3AD203B41FA5}">
                      <a16:colId xmlns:a16="http://schemas.microsoft.com/office/drawing/2014/main" val="513838559"/>
                    </a:ext>
                  </a:extLst>
                </a:gridCol>
                <a:gridCol w="1543686">
                  <a:extLst>
                    <a:ext uri="{9D8B030D-6E8A-4147-A177-3AD203B41FA5}">
                      <a16:colId xmlns:a16="http://schemas.microsoft.com/office/drawing/2014/main" val="1417543564"/>
                    </a:ext>
                  </a:extLst>
                </a:gridCol>
              </a:tblGrid>
              <a:tr h="681174">
                <a:tc>
                  <a:txBody>
                    <a:bodyPr/>
                    <a:lstStyle/>
                    <a:p>
                      <a:pPr algn="ctr"/>
                      <a:r>
                        <a:rPr lang="en-US" sz="2000" dirty="0"/>
                        <a:t>Predicted risk category</a:t>
                      </a:r>
                    </a:p>
                  </a:txBody>
                  <a:tcPr marL="121920" marR="121920" marT="60960" marB="60960"/>
                </a:tc>
                <a:tc>
                  <a:txBody>
                    <a:bodyPr/>
                    <a:lstStyle/>
                    <a:p>
                      <a:pPr algn="ctr"/>
                      <a:r>
                        <a:rPr lang="en-US" sz="2000" dirty="0"/>
                        <a:t># (%)</a:t>
                      </a:r>
                      <a:r>
                        <a:rPr lang="en-US" sz="2000" baseline="0" dirty="0"/>
                        <a:t> of physicians</a:t>
                      </a:r>
                      <a:endParaRPr lang="en-US" sz="2000" dirty="0"/>
                    </a:p>
                  </a:txBody>
                  <a:tcPr marL="121920" marR="121920" marT="60960" marB="60960"/>
                </a:tc>
                <a:tc>
                  <a:txBody>
                    <a:bodyPr/>
                    <a:lstStyle/>
                    <a:p>
                      <a:pPr algn="ctr"/>
                      <a:r>
                        <a:rPr lang="en-US" sz="2000" dirty="0"/>
                        <a:t>Relative expense</a:t>
                      </a:r>
                    </a:p>
                  </a:txBody>
                  <a:tcPr marL="121920" marR="121920" marT="60960" marB="60960"/>
                </a:tc>
                <a:tc>
                  <a:txBody>
                    <a:bodyPr/>
                    <a:lstStyle/>
                    <a:p>
                      <a:pPr algn="ctr"/>
                      <a:r>
                        <a:rPr lang="en-US" sz="2000" dirty="0"/>
                        <a:t>% of total expense</a:t>
                      </a:r>
                    </a:p>
                  </a:txBody>
                  <a:tcPr marL="121920" marR="121920" marT="60960" marB="60960"/>
                </a:tc>
                <a:tc>
                  <a:txBody>
                    <a:bodyPr/>
                    <a:lstStyle/>
                    <a:p>
                      <a:pPr algn="ctr"/>
                      <a:r>
                        <a:rPr lang="en-US" sz="2000" dirty="0"/>
                        <a:t>Score</a:t>
                      </a:r>
                    </a:p>
                    <a:p>
                      <a:pPr algn="ctr"/>
                      <a:r>
                        <a:rPr lang="en-US" sz="2000" dirty="0"/>
                        <a:t>(range)</a:t>
                      </a:r>
                    </a:p>
                  </a:txBody>
                  <a:tcPr marL="121920" marR="121920" marT="60960" marB="60960"/>
                </a:tc>
                <a:extLst>
                  <a:ext uri="{0D108BD9-81ED-4DB2-BD59-A6C34878D82A}">
                    <a16:rowId xmlns:a16="http://schemas.microsoft.com/office/drawing/2014/main" val="2864284666"/>
                  </a:ext>
                </a:extLst>
              </a:tr>
              <a:tr h="458882">
                <a:tc>
                  <a:txBody>
                    <a:bodyPr/>
                    <a:lstStyle/>
                    <a:p>
                      <a:pPr algn="ctr"/>
                      <a:r>
                        <a:rPr lang="en-US" sz="2000" dirty="0">
                          <a:solidFill>
                            <a:schemeClr val="dk2"/>
                          </a:solidFill>
                        </a:rPr>
                        <a:t>5 (high)</a:t>
                      </a:r>
                    </a:p>
                  </a:txBody>
                  <a:tcPr marL="121920" marR="121920" marT="60960" marB="60960"/>
                </a:tc>
                <a:tc>
                  <a:txBody>
                    <a:bodyPr/>
                    <a:lstStyle/>
                    <a:p>
                      <a:pPr algn="ctr"/>
                      <a:r>
                        <a:rPr lang="en-US" sz="2000" dirty="0">
                          <a:solidFill>
                            <a:schemeClr val="dk2"/>
                          </a:solidFill>
                        </a:rPr>
                        <a:t>51 (8)</a:t>
                      </a:r>
                    </a:p>
                  </a:txBody>
                  <a:tcPr marL="121920" marR="121920" marT="60960" marB="60960"/>
                </a:tc>
                <a:tc>
                  <a:txBody>
                    <a:bodyPr/>
                    <a:lstStyle/>
                    <a:p>
                      <a:pPr algn="ctr"/>
                      <a:r>
                        <a:rPr lang="en-US" sz="2000" dirty="0">
                          <a:solidFill>
                            <a:schemeClr val="dk2"/>
                          </a:solidFill>
                        </a:rPr>
                        <a:t>73</a:t>
                      </a:r>
                    </a:p>
                  </a:txBody>
                  <a:tcPr marL="121920" marR="121920" marT="60960" marB="60960"/>
                </a:tc>
                <a:tc>
                  <a:txBody>
                    <a:bodyPr/>
                    <a:lstStyle/>
                    <a:p>
                      <a:pPr algn="ctr"/>
                      <a:r>
                        <a:rPr lang="en-US" sz="2000" dirty="0">
                          <a:solidFill>
                            <a:schemeClr val="dk2"/>
                          </a:solidFill>
                        </a:rPr>
                        <a:t>50%</a:t>
                      </a:r>
                    </a:p>
                  </a:txBody>
                  <a:tcPr marL="121920" marR="121920" marT="60960" marB="60960"/>
                </a:tc>
                <a:tc>
                  <a:txBody>
                    <a:bodyPr/>
                    <a:lstStyle/>
                    <a:p>
                      <a:pPr algn="ctr"/>
                      <a:r>
                        <a:rPr lang="en-US" sz="2000" dirty="0">
                          <a:solidFill>
                            <a:schemeClr val="dk2"/>
                          </a:solidFill>
                        </a:rPr>
                        <a:t>&gt; 50</a:t>
                      </a:r>
                    </a:p>
                  </a:txBody>
                  <a:tcPr marL="121920" marR="121920" marT="60960" marB="60960"/>
                </a:tc>
                <a:extLst>
                  <a:ext uri="{0D108BD9-81ED-4DB2-BD59-A6C34878D82A}">
                    <a16:rowId xmlns:a16="http://schemas.microsoft.com/office/drawing/2014/main" val="1233488910"/>
                  </a:ext>
                </a:extLst>
              </a:tr>
              <a:tr h="458882">
                <a:tc>
                  <a:txBody>
                    <a:bodyPr/>
                    <a:lstStyle/>
                    <a:p>
                      <a:pPr algn="ctr"/>
                      <a:r>
                        <a:rPr lang="en-US" sz="2000" dirty="0">
                          <a:solidFill>
                            <a:schemeClr val="dk2"/>
                          </a:solidFill>
                        </a:rPr>
                        <a:t>4</a:t>
                      </a:r>
                    </a:p>
                  </a:txBody>
                  <a:tcPr marL="121920" marR="121920" marT="60960" marB="60960"/>
                </a:tc>
                <a:tc>
                  <a:txBody>
                    <a:bodyPr/>
                    <a:lstStyle/>
                    <a:p>
                      <a:pPr algn="ctr"/>
                      <a:r>
                        <a:rPr lang="en-US" sz="2000" dirty="0">
                          <a:solidFill>
                            <a:schemeClr val="dk2"/>
                          </a:solidFill>
                        </a:rPr>
                        <a:t>52 (8)</a:t>
                      </a:r>
                    </a:p>
                  </a:txBody>
                  <a:tcPr marL="121920" marR="121920" marT="60960" marB="60960"/>
                </a:tc>
                <a:tc>
                  <a:txBody>
                    <a:bodyPr/>
                    <a:lstStyle/>
                    <a:p>
                      <a:pPr algn="ctr"/>
                      <a:r>
                        <a:rPr lang="en-US" sz="2000" dirty="0">
                          <a:solidFill>
                            <a:schemeClr val="dk2"/>
                          </a:solidFill>
                        </a:rPr>
                        <a:t>42</a:t>
                      </a:r>
                    </a:p>
                  </a:txBody>
                  <a:tcPr marL="121920" marR="121920" marT="60960" marB="60960"/>
                </a:tc>
                <a:tc>
                  <a:txBody>
                    <a:bodyPr/>
                    <a:lstStyle/>
                    <a:p>
                      <a:pPr algn="ctr"/>
                      <a:r>
                        <a:rPr lang="en-US" sz="2000" dirty="0">
                          <a:solidFill>
                            <a:schemeClr val="dk2"/>
                          </a:solidFill>
                        </a:rPr>
                        <a:t>29%</a:t>
                      </a:r>
                    </a:p>
                  </a:txBody>
                  <a:tcPr marL="121920" marR="121920" marT="60960" marB="60960"/>
                </a:tc>
                <a:tc>
                  <a:txBody>
                    <a:bodyPr/>
                    <a:lstStyle/>
                    <a:p>
                      <a:pPr algn="ctr"/>
                      <a:r>
                        <a:rPr lang="en-US" sz="2000" dirty="0">
                          <a:solidFill>
                            <a:schemeClr val="dk2"/>
                          </a:solidFill>
                        </a:rPr>
                        <a:t>41-50</a:t>
                      </a:r>
                    </a:p>
                  </a:txBody>
                  <a:tcPr marL="121920" marR="121920" marT="60960" marB="60960"/>
                </a:tc>
                <a:extLst>
                  <a:ext uri="{0D108BD9-81ED-4DB2-BD59-A6C34878D82A}">
                    <a16:rowId xmlns:a16="http://schemas.microsoft.com/office/drawing/2014/main" val="557590388"/>
                  </a:ext>
                </a:extLst>
              </a:tr>
              <a:tr h="458882">
                <a:tc>
                  <a:txBody>
                    <a:bodyPr/>
                    <a:lstStyle/>
                    <a:p>
                      <a:pPr algn="ctr"/>
                      <a:r>
                        <a:rPr lang="en-US" sz="2000" dirty="0">
                          <a:solidFill>
                            <a:schemeClr val="dk2"/>
                          </a:solidFill>
                        </a:rPr>
                        <a:t>3</a:t>
                      </a:r>
                    </a:p>
                  </a:txBody>
                  <a:tcPr marL="121920" marR="121920" marT="60960" marB="60960"/>
                </a:tc>
                <a:tc>
                  <a:txBody>
                    <a:bodyPr/>
                    <a:lstStyle/>
                    <a:p>
                      <a:pPr algn="ctr"/>
                      <a:r>
                        <a:rPr lang="en-US" sz="2000" dirty="0">
                          <a:solidFill>
                            <a:schemeClr val="dk2"/>
                          </a:solidFill>
                        </a:rPr>
                        <a:t>76 (12)</a:t>
                      </a:r>
                    </a:p>
                  </a:txBody>
                  <a:tcPr marL="121920" marR="121920" marT="60960" marB="60960"/>
                </a:tc>
                <a:tc>
                  <a:txBody>
                    <a:bodyPr/>
                    <a:lstStyle/>
                    <a:p>
                      <a:pPr algn="ctr"/>
                      <a:r>
                        <a:rPr lang="en-US" sz="2000" dirty="0">
                          <a:solidFill>
                            <a:schemeClr val="dk2"/>
                          </a:solidFill>
                        </a:rPr>
                        <a:t>4</a:t>
                      </a:r>
                    </a:p>
                  </a:txBody>
                  <a:tcPr marL="121920" marR="121920" marT="60960" marB="60960"/>
                </a:tc>
                <a:tc>
                  <a:txBody>
                    <a:bodyPr/>
                    <a:lstStyle/>
                    <a:p>
                      <a:pPr algn="ctr"/>
                      <a:r>
                        <a:rPr lang="en-US" sz="2000" dirty="0">
                          <a:solidFill>
                            <a:schemeClr val="dk2"/>
                          </a:solidFill>
                        </a:rPr>
                        <a:t>4%</a:t>
                      </a:r>
                    </a:p>
                  </a:txBody>
                  <a:tcPr marL="121920" marR="121920" marT="60960" marB="60960"/>
                </a:tc>
                <a:tc>
                  <a:txBody>
                    <a:bodyPr/>
                    <a:lstStyle/>
                    <a:p>
                      <a:pPr algn="ctr"/>
                      <a:r>
                        <a:rPr lang="en-US" sz="2000" dirty="0">
                          <a:solidFill>
                            <a:schemeClr val="dk2"/>
                          </a:solidFill>
                        </a:rPr>
                        <a:t>21-40</a:t>
                      </a:r>
                    </a:p>
                  </a:txBody>
                  <a:tcPr marL="121920" marR="121920" marT="60960" marB="60960"/>
                </a:tc>
                <a:extLst>
                  <a:ext uri="{0D108BD9-81ED-4DB2-BD59-A6C34878D82A}">
                    <a16:rowId xmlns:a16="http://schemas.microsoft.com/office/drawing/2014/main" val="2038532003"/>
                  </a:ext>
                </a:extLst>
              </a:tr>
              <a:tr h="458882">
                <a:tc>
                  <a:txBody>
                    <a:bodyPr/>
                    <a:lstStyle/>
                    <a:p>
                      <a:pPr algn="ctr"/>
                      <a:r>
                        <a:rPr lang="en-US" sz="2000" dirty="0">
                          <a:solidFill>
                            <a:schemeClr val="dk2"/>
                          </a:solidFill>
                        </a:rPr>
                        <a:t>2</a:t>
                      </a:r>
                    </a:p>
                  </a:txBody>
                  <a:tcPr marL="121920" marR="121920" marT="60960" marB="60960"/>
                </a:tc>
                <a:tc>
                  <a:txBody>
                    <a:bodyPr/>
                    <a:lstStyle/>
                    <a:p>
                      <a:pPr algn="ctr"/>
                      <a:r>
                        <a:rPr lang="en-US" sz="2000" dirty="0">
                          <a:solidFill>
                            <a:schemeClr val="dk2"/>
                          </a:solidFill>
                        </a:rPr>
                        <a:t>147 (23) </a:t>
                      </a:r>
                    </a:p>
                  </a:txBody>
                  <a:tcPr marL="121920" marR="121920" marT="60960" marB="60960"/>
                </a:tc>
                <a:tc>
                  <a:txBody>
                    <a:bodyPr/>
                    <a:lstStyle/>
                    <a:p>
                      <a:pPr algn="ctr"/>
                      <a:r>
                        <a:rPr lang="en-US" sz="2000" dirty="0">
                          <a:solidFill>
                            <a:schemeClr val="dk2"/>
                          </a:solidFill>
                        </a:rPr>
                        <a:t>6</a:t>
                      </a:r>
                    </a:p>
                  </a:txBody>
                  <a:tcPr marL="121920" marR="121920" marT="60960" marB="60960"/>
                </a:tc>
                <a:tc>
                  <a:txBody>
                    <a:bodyPr/>
                    <a:lstStyle/>
                    <a:p>
                      <a:pPr algn="ctr"/>
                      <a:r>
                        <a:rPr lang="en-US" sz="2000" dirty="0">
                          <a:solidFill>
                            <a:schemeClr val="dk2"/>
                          </a:solidFill>
                        </a:rPr>
                        <a:t>13%</a:t>
                      </a:r>
                    </a:p>
                  </a:txBody>
                  <a:tcPr marL="121920" marR="121920" marT="60960" marB="60960"/>
                </a:tc>
                <a:tc>
                  <a:txBody>
                    <a:bodyPr/>
                    <a:lstStyle/>
                    <a:p>
                      <a:pPr algn="ctr"/>
                      <a:r>
                        <a:rPr lang="en-US" sz="2000" dirty="0">
                          <a:solidFill>
                            <a:schemeClr val="dk2"/>
                          </a:solidFill>
                        </a:rPr>
                        <a:t>1-20</a:t>
                      </a:r>
                    </a:p>
                  </a:txBody>
                  <a:tcPr marL="121920" marR="121920" marT="60960" marB="60960"/>
                </a:tc>
                <a:extLst>
                  <a:ext uri="{0D108BD9-81ED-4DB2-BD59-A6C34878D82A}">
                    <a16:rowId xmlns:a16="http://schemas.microsoft.com/office/drawing/2014/main" val="2771376225"/>
                  </a:ext>
                </a:extLst>
              </a:tr>
              <a:tr h="458882">
                <a:tc>
                  <a:txBody>
                    <a:bodyPr/>
                    <a:lstStyle/>
                    <a:p>
                      <a:pPr algn="ctr"/>
                      <a:r>
                        <a:rPr lang="en-US" sz="2000" dirty="0">
                          <a:solidFill>
                            <a:schemeClr val="dk2"/>
                          </a:solidFill>
                        </a:rPr>
                        <a:t>1 (low)</a:t>
                      </a:r>
                    </a:p>
                  </a:txBody>
                  <a:tcPr marL="121920" marR="121920" marT="60960" marB="60960"/>
                </a:tc>
                <a:tc>
                  <a:txBody>
                    <a:bodyPr/>
                    <a:lstStyle/>
                    <a:p>
                      <a:pPr algn="ctr"/>
                      <a:r>
                        <a:rPr lang="en-US" sz="2000" dirty="0">
                          <a:solidFill>
                            <a:schemeClr val="dk2"/>
                          </a:solidFill>
                        </a:rPr>
                        <a:t>318 (49)</a:t>
                      </a:r>
                    </a:p>
                  </a:txBody>
                  <a:tcPr marL="121920" marR="121920" marT="60960" marB="60960"/>
                </a:tc>
                <a:tc>
                  <a:txBody>
                    <a:bodyPr/>
                    <a:lstStyle/>
                    <a:p>
                      <a:pPr algn="ctr"/>
                      <a:r>
                        <a:rPr lang="en-US" sz="2000" dirty="0">
                          <a:solidFill>
                            <a:schemeClr val="dk2"/>
                          </a:solidFill>
                        </a:rPr>
                        <a:t>1</a:t>
                      </a:r>
                    </a:p>
                  </a:txBody>
                  <a:tcPr marL="121920" marR="121920" marT="60960" marB="60960"/>
                </a:tc>
                <a:tc>
                  <a:txBody>
                    <a:bodyPr/>
                    <a:lstStyle/>
                    <a:p>
                      <a:pPr algn="ctr"/>
                      <a:r>
                        <a:rPr lang="en-US" sz="2000" dirty="0">
                          <a:solidFill>
                            <a:schemeClr val="dk2"/>
                          </a:solidFill>
                        </a:rPr>
                        <a:t>4%</a:t>
                      </a:r>
                    </a:p>
                  </a:txBody>
                  <a:tcPr marL="121920" marR="121920" marT="60960" marB="60960"/>
                </a:tc>
                <a:tc>
                  <a:txBody>
                    <a:bodyPr/>
                    <a:lstStyle/>
                    <a:p>
                      <a:pPr algn="ctr"/>
                      <a:r>
                        <a:rPr lang="en-US" sz="2000" dirty="0">
                          <a:solidFill>
                            <a:schemeClr val="dk2"/>
                          </a:solidFill>
                        </a:rPr>
                        <a:t>0</a:t>
                      </a:r>
                    </a:p>
                  </a:txBody>
                  <a:tcPr marL="121920" marR="121920" marT="60960" marB="60960"/>
                </a:tc>
                <a:extLst>
                  <a:ext uri="{0D108BD9-81ED-4DB2-BD59-A6C34878D82A}">
                    <a16:rowId xmlns:a16="http://schemas.microsoft.com/office/drawing/2014/main" val="3726044625"/>
                  </a:ext>
                </a:extLst>
              </a:tr>
              <a:tr h="458882">
                <a:tc>
                  <a:txBody>
                    <a:bodyPr/>
                    <a:lstStyle/>
                    <a:p>
                      <a:pPr algn="ctr"/>
                      <a:r>
                        <a:rPr lang="en-US" sz="2000" dirty="0">
                          <a:solidFill>
                            <a:schemeClr val="dk2"/>
                          </a:solidFill>
                        </a:rPr>
                        <a:t>Total</a:t>
                      </a:r>
                    </a:p>
                  </a:txBody>
                  <a:tcPr marL="121920" marR="121920" marT="60960" marB="60960"/>
                </a:tc>
                <a:tc>
                  <a:txBody>
                    <a:bodyPr/>
                    <a:lstStyle/>
                    <a:p>
                      <a:pPr algn="ctr"/>
                      <a:r>
                        <a:rPr lang="en-US" sz="2000" dirty="0">
                          <a:solidFill>
                            <a:schemeClr val="dk2"/>
                          </a:solidFill>
                        </a:rPr>
                        <a:t>644 (100)</a:t>
                      </a:r>
                    </a:p>
                  </a:txBody>
                  <a:tcPr marL="121920" marR="121920" marT="60960" marB="60960"/>
                </a:tc>
                <a:tc>
                  <a:txBody>
                    <a:bodyPr/>
                    <a:lstStyle/>
                    <a:p>
                      <a:pPr algn="ctr"/>
                      <a:endParaRPr lang="en-US" sz="2000" dirty="0">
                        <a:solidFill>
                          <a:schemeClr val="dk2"/>
                        </a:solidFill>
                      </a:endParaRPr>
                    </a:p>
                  </a:txBody>
                  <a:tcPr marL="121920" marR="121920" marT="60960" marB="60960"/>
                </a:tc>
                <a:tc>
                  <a:txBody>
                    <a:bodyPr/>
                    <a:lstStyle/>
                    <a:p>
                      <a:pPr algn="ctr"/>
                      <a:r>
                        <a:rPr lang="en-US" sz="2000" dirty="0">
                          <a:solidFill>
                            <a:schemeClr val="dk2"/>
                          </a:solidFill>
                        </a:rPr>
                        <a:t>100%</a:t>
                      </a:r>
                    </a:p>
                  </a:txBody>
                  <a:tcPr marL="121920" marR="121920" marT="60960" marB="60960"/>
                </a:tc>
                <a:tc>
                  <a:txBody>
                    <a:bodyPr/>
                    <a:lstStyle/>
                    <a:p>
                      <a:pPr algn="ctr"/>
                      <a:endParaRPr lang="en-US" sz="2000" dirty="0">
                        <a:solidFill>
                          <a:schemeClr val="dk2"/>
                        </a:solidFill>
                      </a:endParaRPr>
                    </a:p>
                  </a:txBody>
                  <a:tcPr marL="121920" marR="121920" marT="60960" marB="60960"/>
                </a:tc>
                <a:extLst>
                  <a:ext uri="{0D108BD9-81ED-4DB2-BD59-A6C34878D82A}">
                    <a16:rowId xmlns:a16="http://schemas.microsoft.com/office/drawing/2014/main" val="2318337564"/>
                  </a:ext>
                </a:extLst>
              </a:tr>
            </a:tbl>
          </a:graphicData>
        </a:graphic>
      </p:graphicFrame>
    </p:spTree>
    <p:custDataLst>
      <p:tags r:id="rId1"/>
    </p:custDataLst>
    <p:extLst>
      <p:ext uri="{BB962C8B-B14F-4D97-AF65-F5344CB8AC3E}">
        <p14:creationId xmlns:p14="http://schemas.microsoft.com/office/powerpoint/2010/main" val="15745259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crease in malpractice claim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23</a:t>
            </a:fld>
            <a:endParaRPr lang="en-US"/>
          </a:p>
        </p:txBody>
      </p:sp>
      <p:sp>
        <p:nvSpPr>
          <p:cNvPr id="4" name="Text Placeholder 3"/>
          <p:cNvSpPr>
            <a:spLocks noGrp="1"/>
          </p:cNvSpPr>
          <p:nvPr>
            <p:ph type="body" sz="quarter" idx="14"/>
          </p:nvPr>
        </p:nvSpPr>
        <p:spPr/>
        <p:txBody>
          <a:bodyPr/>
          <a:lstStyle/>
          <a:p>
            <a:r>
              <a:rPr lang="en-US" dirty="0" err="1"/>
              <a:t>Lagoo</a:t>
            </a:r>
            <a:r>
              <a:rPr lang="en-US" dirty="0"/>
              <a:t>, J., et al. (2019). Multisource evaluation of surgeon behavior is associated with malpractice claims. </a:t>
            </a:r>
            <a:r>
              <a:rPr lang="en-US" i="1" dirty="0"/>
              <a:t>Annals of Surgery, 270</a:t>
            </a:r>
            <a:r>
              <a:rPr lang="en-US" dirty="0"/>
              <a:t>(1), 84-90. </a:t>
            </a:r>
            <a:r>
              <a:rPr lang="en-US" dirty="0">
                <a:hlinkClick r:id="rId3"/>
              </a:rPr>
              <a:t>https://doi.org/10.1097/SLA.0000000000002742</a:t>
            </a:r>
            <a:r>
              <a:rPr lang="en-US" dirty="0"/>
              <a:t> </a:t>
            </a:r>
          </a:p>
        </p:txBody>
      </p:sp>
      <p:grpSp>
        <p:nvGrpSpPr>
          <p:cNvPr id="5" name="Group 4"/>
          <p:cNvGrpSpPr/>
          <p:nvPr/>
        </p:nvGrpSpPr>
        <p:grpSpPr>
          <a:xfrm>
            <a:off x="535959" y="2068882"/>
            <a:ext cx="10479371" cy="3603825"/>
            <a:chOff x="640078" y="2322894"/>
            <a:chExt cx="10479371" cy="3603825"/>
          </a:xfrm>
        </p:grpSpPr>
        <p:sp>
          <p:nvSpPr>
            <p:cNvPr id="9" name="Freeform 8"/>
            <p:cNvSpPr/>
            <p:nvPr/>
          </p:nvSpPr>
          <p:spPr>
            <a:xfrm>
              <a:off x="640078" y="2322894"/>
              <a:ext cx="10479371" cy="1067040"/>
            </a:xfrm>
            <a:custGeom>
              <a:avLst/>
              <a:gdLst>
                <a:gd name="connsiteX0" fmla="*/ 0 w 8583749"/>
                <a:gd name="connsiteY0" fmla="*/ 177844 h 1067040"/>
                <a:gd name="connsiteX1" fmla="*/ 177844 w 8583749"/>
                <a:gd name="connsiteY1" fmla="*/ 0 h 1067040"/>
                <a:gd name="connsiteX2" fmla="*/ 8405905 w 8583749"/>
                <a:gd name="connsiteY2" fmla="*/ 0 h 1067040"/>
                <a:gd name="connsiteX3" fmla="*/ 8583749 w 8583749"/>
                <a:gd name="connsiteY3" fmla="*/ 177844 h 1067040"/>
                <a:gd name="connsiteX4" fmla="*/ 8583749 w 8583749"/>
                <a:gd name="connsiteY4" fmla="*/ 889196 h 1067040"/>
                <a:gd name="connsiteX5" fmla="*/ 8405905 w 8583749"/>
                <a:gd name="connsiteY5" fmla="*/ 1067040 h 1067040"/>
                <a:gd name="connsiteX6" fmla="*/ 177844 w 8583749"/>
                <a:gd name="connsiteY6" fmla="*/ 1067040 h 1067040"/>
                <a:gd name="connsiteX7" fmla="*/ 0 w 8583749"/>
                <a:gd name="connsiteY7" fmla="*/ 889196 h 1067040"/>
                <a:gd name="connsiteX8" fmla="*/ 0 w 8583749"/>
                <a:gd name="connsiteY8" fmla="*/ 177844 h 106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83749" h="1067040">
                  <a:moveTo>
                    <a:pt x="0" y="177844"/>
                  </a:moveTo>
                  <a:cubicBezTo>
                    <a:pt x="0" y="79623"/>
                    <a:pt x="79623" y="0"/>
                    <a:pt x="177844" y="0"/>
                  </a:cubicBezTo>
                  <a:lnTo>
                    <a:pt x="8405905" y="0"/>
                  </a:lnTo>
                  <a:cubicBezTo>
                    <a:pt x="8504126" y="0"/>
                    <a:pt x="8583749" y="79623"/>
                    <a:pt x="8583749" y="177844"/>
                  </a:cubicBezTo>
                  <a:lnTo>
                    <a:pt x="8583749" y="889196"/>
                  </a:lnTo>
                  <a:cubicBezTo>
                    <a:pt x="8583749" y="987417"/>
                    <a:pt x="8504126" y="1067040"/>
                    <a:pt x="8405905" y="1067040"/>
                  </a:cubicBezTo>
                  <a:lnTo>
                    <a:pt x="177844" y="1067040"/>
                  </a:lnTo>
                  <a:cubicBezTo>
                    <a:pt x="79623" y="1067040"/>
                    <a:pt x="0" y="987417"/>
                    <a:pt x="0" y="889196"/>
                  </a:cubicBezTo>
                  <a:lnTo>
                    <a:pt x="0" y="177844"/>
                  </a:lnTo>
                  <a:close/>
                </a:path>
              </a:pathLst>
            </a:custGeom>
            <a:solidFill>
              <a:schemeClr val="accent3">
                <a:alpha val="90000"/>
              </a:schemeClr>
            </a:solidFill>
          </p:spPr>
          <p:style>
            <a:lnRef idx="2">
              <a:schemeClr val="lt1">
                <a:hueOff val="0"/>
                <a:satOff val="0"/>
                <a:lumOff val="0"/>
                <a:alphaOff val="0"/>
              </a:schemeClr>
            </a:lnRef>
            <a:fillRef idx="1">
              <a:schemeClr val="accent2">
                <a:alpha val="90000"/>
                <a:hueOff val="0"/>
                <a:satOff val="0"/>
                <a:lumOff val="0"/>
                <a:alphaOff val="0"/>
              </a:schemeClr>
            </a:fillRef>
            <a:effectRef idx="0">
              <a:schemeClr val="accent2">
                <a:alpha val="90000"/>
                <a:hueOff val="0"/>
                <a:satOff val="0"/>
                <a:lumOff val="0"/>
                <a:alphaOff val="0"/>
              </a:schemeClr>
            </a:effectRef>
            <a:fontRef idx="minor">
              <a:schemeClr val="lt1"/>
            </a:fontRef>
          </p:style>
          <p:txBody>
            <a:bodyPr spcFirstLastPara="0" vert="horz" wrap="square" lIns="151149" tIns="151149" rIns="151149" bIns="151149" numCol="1" spcCol="1270" anchor="ctr" anchorCtr="0">
              <a:noAutofit/>
            </a:bodyPr>
            <a:lstStyle/>
            <a:p>
              <a:pPr lvl="0" algn="l" defTabSz="1155700">
                <a:lnSpc>
                  <a:spcPct val="90000"/>
                </a:lnSpc>
                <a:spcBef>
                  <a:spcPct val="0"/>
                </a:spcBef>
                <a:spcAft>
                  <a:spcPct val="35000"/>
                </a:spcAft>
              </a:pPr>
              <a:r>
                <a:rPr lang="en-US" sz="2600" b="0" kern="1200" dirty="0"/>
                <a:t>Odds of being sued at least once in one’s career based on behavior:</a:t>
              </a:r>
            </a:p>
          </p:txBody>
        </p:sp>
        <p:sp>
          <p:nvSpPr>
            <p:cNvPr id="10" name="Freeform 9"/>
            <p:cNvSpPr/>
            <p:nvPr/>
          </p:nvSpPr>
          <p:spPr>
            <a:xfrm>
              <a:off x="640078" y="3389934"/>
              <a:ext cx="8583749" cy="2536785"/>
            </a:xfrm>
            <a:custGeom>
              <a:avLst/>
              <a:gdLst>
                <a:gd name="connsiteX0" fmla="*/ 0 w 8583749"/>
                <a:gd name="connsiteY0" fmla="*/ 0 h 2536785"/>
                <a:gd name="connsiteX1" fmla="*/ 8583749 w 8583749"/>
                <a:gd name="connsiteY1" fmla="*/ 0 h 2536785"/>
                <a:gd name="connsiteX2" fmla="*/ 8583749 w 8583749"/>
                <a:gd name="connsiteY2" fmla="*/ 2536785 h 2536785"/>
                <a:gd name="connsiteX3" fmla="*/ 0 w 8583749"/>
                <a:gd name="connsiteY3" fmla="*/ 2536785 h 2536785"/>
                <a:gd name="connsiteX4" fmla="*/ 0 w 8583749"/>
                <a:gd name="connsiteY4" fmla="*/ 0 h 2536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3749" h="2536785">
                  <a:moveTo>
                    <a:pt x="0" y="0"/>
                  </a:moveTo>
                  <a:lnTo>
                    <a:pt x="8583749" y="0"/>
                  </a:lnTo>
                  <a:lnTo>
                    <a:pt x="8583749" y="2536785"/>
                  </a:lnTo>
                  <a:lnTo>
                    <a:pt x="0" y="253678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72534" tIns="33020" rIns="184912" bIns="33020" numCol="1" spcCol="1270" anchor="t" anchorCtr="0">
              <a:noAutofit/>
            </a:bodyPr>
            <a:lstStyle/>
            <a:p>
              <a:pPr marL="228600" lvl="1" indent="-228600" algn="l" defTabSz="1155700">
                <a:lnSpc>
                  <a:spcPct val="100000"/>
                </a:lnSpc>
                <a:spcBef>
                  <a:spcPct val="0"/>
                </a:spcBef>
                <a:spcAft>
                  <a:spcPts val="1200"/>
                </a:spcAft>
                <a:buChar char="••"/>
              </a:pPr>
              <a:r>
                <a:rPr lang="en-US" sz="2600" kern="1200" baseline="0" dirty="0">
                  <a:solidFill>
                    <a:schemeClr val="tx2"/>
                  </a:solidFill>
                </a:rPr>
                <a:t>Does not consider suggestions — 5.99.</a:t>
              </a:r>
            </a:p>
            <a:p>
              <a:pPr marL="228600" lvl="1" indent="-228600" algn="l" defTabSz="1155700">
                <a:lnSpc>
                  <a:spcPct val="100000"/>
                </a:lnSpc>
                <a:spcBef>
                  <a:spcPct val="0"/>
                </a:spcBef>
                <a:spcAft>
                  <a:spcPts val="1200"/>
                </a:spcAft>
                <a:buChar char="••"/>
              </a:pPr>
              <a:r>
                <a:rPr lang="en-US" sz="2600" kern="1200" baseline="0" dirty="0">
                  <a:solidFill>
                    <a:schemeClr val="tx2"/>
                  </a:solidFill>
                </a:rPr>
                <a:t>Snaps at others when frustrated — 5.92.</a:t>
              </a:r>
            </a:p>
            <a:p>
              <a:pPr marL="228600" lvl="1" indent="-228600" algn="l" defTabSz="1155700">
                <a:lnSpc>
                  <a:spcPct val="100000"/>
                </a:lnSpc>
                <a:spcBef>
                  <a:spcPct val="0"/>
                </a:spcBef>
                <a:spcAft>
                  <a:spcPts val="1200"/>
                </a:spcAft>
                <a:buChar char="••"/>
              </a:pPr>
              <a:r>
                <a:rPr lang="en-US" sz="2600" kern="1200" baseline="0" dirty="0">
                  <a:solidFill>
                    <a:schemeClr val="tx2"/>
                  </a:solidFill>
                </a:rPr>
                <a:t>Does not pay attention — 4.97.</a:t>
              </a:r>
            </a:p>
            <a:p>
              <a:pPr marL="228600" lvl="1" indent="-228600" algn="l" defTabSz="1155700">
                <a:lnSpc>
                  <a:spcPct val="100000"/>
                </a:lnSpc>
                <a:spcBef>
                  <a:spcPct val="0"/>
                </a:spcBef>
                <a:spcAft>
                  <a:spcPts val="1200"/>
                </a:spcAft>
                <a:buChar char="••"/>
              </a:pPr>
              <a:r>
                <a:rPr lang="en-US" sz="2600" kern="1200" baseline="0" dirty="0">
                  <a:solidFill>
                    <a:schemeClr val="tx2"/>
                  </a:solidFill>
                </a:rPr>
                <a:t>Does not inform others of treatment plan — 4.86.</a:t>
              </a:r>
            </a:p>
            <a:p>
              <a:pPr marL="228600" lvl="1" indent="-228600" algn="l" defTabSz="1155700">
                <a:lnSpc>
                  <a:spcPct val="90000"/>
                </a:lnSpc>
                <a:spcBef>
                  <a:spcPct val="0"/>
                </a:spcBef>
                <a:spcAft>
                  <a:spcPct val="20000"/>
                </a:spcAft>
                <a:buChar char="••"/>
              </a:pPr>
              <a:r>
                <a:rPr lang="en-US" sz="2600" kern="1200" baseline="0" dirty="0">
                  <a:solidFill>
                    <a:schemeClr val="tx2"/>
                  </a:solidFill>
                </a:rPr>
                <a:t>Talks down to others — 4.28.</a:t>
              </a:r>
            </a:p>
          </p:txBody>
        </p:sp>
      </p:grpSp>
      <p:sp>
        <p:nvSpPr>
          <p:cNvPr id="8" name="Rounded Rectangle 7"/>
          <p:cNvSpPr/>
          <p:nvPr/>
        </p:nvSpPr>
        <p:spPr>
          <a:xfrm>
            <a:off x="535960" y="911946"/>
            <a:ext cx="10479370" cy="1069848"/>
          </a:xfrm>
          <a:prstGeom prst="roundRect">
            <a:avLst/>
          </a:prstGeom>
          <a:solidFill>
            <a:srgbClr val="005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600" dirty="0">
                <a:solidFill>
                  <a:schemeClr val="bg1"/>
                </a:solidFill>
              </a:rPr>
              <a:t>About 8% of physicians are sued annually.</a:t>
            </a:r>
          </a:p>
        </p:txBody>
      </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20161" y="3241475"/>
            <a:ext cx="2879529" cy="2879529"/>
          </a:xfrm>
          <a:prstGeom prst="rect">
            <a:avLst/>
          </a:prstGeom>
        </p:spPr>
      </p:pic>
    </p:spTree>
    <p:extLst>
      <p:ext uri="{BB962C8B-B14F-4D97-AF65-F5344CB8AC3E}">
        <p14:creationId xmlns:p14="http://schemas.microsoft.com/office/powerpoint/2010/main" val="100326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ouraging disruptive behavior</a:t>
            </a:r>
          </a:p>
        </p:txBody>
      </p:sp>
      <p:sp>
        <p:nvSpPr>
          <p:cNvPr id="5" name="Slide Number Placeholder 4"/>
          <p:cNvSpPr>
            <a:spLocks noGrp="1"/>
          </p:cNvSpPr>
          <p:nvPr>
            <p:ph type="sldNum" sz="quarter" idx="12"/>
          </p:nvPr>
        </p:nvSpPr>
        <p:spPr/>
        <p:txBody>
          <a:bodyPr/>
          <a:lstStyle/>
          <a:p>
            <a:fld id="{DA135043-C596-1A48-8BDA-03EB29A64DF4}" type="slidenum">
              <a:rPr lang="en-US" smtClean="0"/>
              <a:t>24</a:t>
            </a:fld>
            <a:endParaRPr lang="en-US" dirty="0"/>
          </a:p>
        </p:txBody>
      </p:sp>
      <p:sp>
        <p:nvSpPr>
          <p:cNvPr id="3" name="Text Placeholder 2"/>
          <p:cNvSpPr>
            <a:spLocks noGrp="1"/>
          </p:cNvSpPr>
          <p:nvPr>
            <p:ph type="body" sz="quarter" idx="14"/>
          </p:nvPr>
        </p:nvSpPr>
        <p:spPr/>
        <p:txBody>
          <a:bodyPr/>
          <a:lstStyle/>
          <a:p>
            <a:r>
              <a:rPr lang="en-US" dirty="0"/>
              <a:t>Vanderbilt Center for Patient and Professional Advocacy (</a:t>
            </a:r>
            <a:r>
              <a:rPr lang="en-US" dirty="0">
                <a:hlinkClick r:id="rId3"/>
              </a:rPr>
              <a:t>www.vumc.org/patient-professional-advocacy/vumc-cppa-home</a:t>
            </a:r>
            <a:r>
              <a:rPr lang="en-US" dirty="0"/>
              <a:t>) </a:t>
            </a:r>
          </a:p>
        </p:txBody>
      </p:sp>
      <p:pic>
        <p:nvPicPr>
          <p:cNvPr id="10" name="Content Placeholder 4"/>
          <p:cNvPicPr>
            <a:picLocks noGrp="1" noChangeAspect="1"/>
          </p:cNvPicPr>
          <p:nvPr>
            <p:ph idx="4294967295"/>
          </p:nvPr>
        </p:nvPicPr>
        <p:blipFill rotWithShape="1">
          <a:blip r:embed="rId4"/>
          <a:srcRect t="1848" r="724" b="3751"/>
          <a:stretch/>
        </p:blipFill>
        <p:spPr>
          <a:xfrm>
            <a:off x="2723073" y="1045029"/>
            <a:ext cx="6394802" cy="4589418"/>
          </a:xfrm>
          <a:prstGeom prst="rect">
            <a:avLst/>
          </a:prstGeom>
        </p:spPr>
      </p:pic>
    </p:spTree>
    <p:extLst>
      <p:ext uri="{BB962C8B-B14F-4D97-AF65-F5344CB8AC3E}">
        <p14:creationId xmlns:p14="http://schemas.microsoft.com/office/powerpoint/2010/main" val="2249721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powering to report</a:t>
            </a:r>
          </a:p>
        </p:txBody>
      </p:sp>
      <p:sp>
        <p:nvSpPr>
          <p:cNvPr id="4" name="Text Placeholder 3"/>
          <p:cNvSpPr>
            <a:spLocks noGrp="1"/>
          </p:cNvSpPr>
          <p:nvPr>
            <p:ph type="body" sz="quarter" idx="14"/>
          </p:nvPr>
        </p:nvSpPr>
        <p:spPr>
          <a:xfrm>
            <a:off x="414730" y="6389794"/>
            <a:ext cx="11064240" cy="391251"/>
          </a:xfrm>
        </p:spPr>
        <p:txBody>
          <a:bodyPr/>
          <a:lstStyle/>
          <a:p>
            <a:r>
              <a:rPr lang="en-US" dirty="0"/>
              <a:t>Webb, L. E., et al.(2016). Using coworker observations to promote accountability for disrespectful and unsafe behaviors by physicians and advanced practice professionals. </a:t>
            </a:r>
            <a:r>
              <a:rPr lang="en-US" i="1" dirty="0"/>
              <a:t>The Joint Commission Journal on Quality and Patient Safety, 42</a:t>
            </a:r>
            <a:r>
              <a:rPr lang="en-US" dirty="0"/>
              <a:t>(4):149-164. </a:t>
            </a:r>
            <a:r>
              <a:rPr lang="en-US" dirty="0">
                <a:hlinkClick r:id="rId4"/>
              </a:rPr>
              <a:t>https://doi.org/</a:t>
            </a:r>
            <a:r>
              <a:rPr lang="en-US" u="sng" dirty="0">
                <a:hlinkClick r:id="rId4"/>
              </a:rPr>
              <a:t>10.1016/s1553-7250(16)42019-2</a:t>
            </a:r>
            <a:endParaRPr lang="en-US" dirty="0"/>
          </a:p>
        </p:txBody>
      </p:sp>
      <p:graphicFrame>
        <p:nvGraphicFramePr>
          <p:cNvPr id="5" name="Diagram 4"/>
          <p:cNvGraphicFramePr/>
          <p:nvPr>
            <p:extLst>
              <p:ext uri="{D42A27DB-BD31-4B8C-83A1-F6EECF244321}">
                <p14:modId xmlns:p14="http://schemas.microsoft.com/office/powerpoint/2010/main" val="1608340634"/>
              </p:ext>
            </p:extLst>
          </p:nvPr>
        </p:nvGraphicFramePr>
        <p:xfrm>
          <a:off x="504079" y="930106"/>
          <a:ext cx="10879433" cy="407759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932747078"/>
              </p:ext>
            </p:extLst>
          </p:nvPr>
        </p:nvGraphicFramePr>
        <p:xfrm>
          <a:off x="504078" y="5316253"/>
          <a:ext cx="10879433" cy="721973"/>
        </p:xfrm>
        <a:graphic>
          <a:graphicData uri="http://schemas.openxmlformats.org/drawingml/2006/table">
            <a:tbl>
              <a:tblPr firstRow="1" bandRow="1">
                <a:tableStyleId>{C083E6E3-FA7D-4D7B-A595-EF9225AFEA82}</a:tableStyleId>
              </a:tblPr>
              <a:tblGrid>
                <a:gridCol w="10879433">
                  <a:extLst>
                    <a:ext uri="{9D8B030D-6E8A-4147-A177-3AD203B41FA5}">
                      <a16:colId xmlns:a16="http://schemas.microsoft.com/office/drawing/2014/main" val="20000"/>
                    </a:ext>
                  </a:extLst>
                </a:gridCol>
              </a:tblGrid>
              <a:tr h="721973">
                <a:tc>
                  <a:txBody>
                    <a:bodyPr/>
                    <a:lstStyle/>
                    <a:p>
                      <a:pPr marL="0" marR="0" lvl="0" indent="0" algn="ctr" defTabSz="1306218" rtl="0" eaLnBrk="1" fontAlgn="auto" latinLnBrk="0" hangingPunct="1">
                        <a:lnSpc>
                          <a:spcPct val="100000"/>
                        </a:lnSpc>
                        <a:spcBef>
                          <a:spcPts val="0"/>
                        </a:spcBef>
                        <a:spcAft>
                          <a:spcPts val="0"/>
                        </a:spcAft>
                        <a:buClrTx/>
                        <a:buSzTx/>
                        <a:buFontTx/>
                        <a:buNone/>
                        <a:tabLst/>
                        <a:defRPr/>
                      </a:pPr>
                      <a:r>
                        <a:rPr lang="en-US" sz="2400" b="0" dirty="0">
                          <a:solidFill>
                            <a:schemeClr val="accent1"/>
                          </a:solidFill>
                        </a:rPr>
                        <a:t>Peer messenger feedback is helpful in encouraging behavior self-regulation.</a:t>
                      </a:r>
                    </a:p>
                  </a:txBody>
                  <a:tcPr anchor="ctr">
                    <a:solidFill>
                      <a:schemeClr val="accent3">
                        <a:lumMod val="20000"/>
                        <a:lumOff val="80000"/>
                      </a:schemeClr>
                    </a:solidFill>
                  </a:tcPr>
                </a:tc>
                <a:extLst>
                  <a:ext uri="{0D108BD9-81ED-4DB2-BD59-A6C34878D82A}">
                    <a16:rowId xmlns:a16="http://schemas.microsoft.com/office/drawing/2014/main" val="10000"/>
                  </a:ext>
                </a:extLst>
              </a:tr>
            </a:tbl>
          </a:graphicData>
        </a:graphic>
      </p:graphicFrame>
      <p:sp>
        <p:nvSpPr>
          <p:cNvPr id="8" name="Slide Number Placeholder 7"/>
          <p:cNvSpPr>
            <a:spLocks noGrp="1"/>
          </p:cNvSpPr>
          <p:nvPr>
            <p:ph type="sldNum" sz="quarter" idx="12"/>
          </p:nvPr>
        </p:nvSpPr>
        <p:spPr/>
        <p:txBody>
          <a:bodyPr/>
          <a:lstStyle/>
          <a:p>
            <a:fld id="{DA135043-C596-1A48-8BDA-03EB29A64DF4}" type="slidenum">
              <a:rPr lang="en-US" smtClean="0"/>
              <a:t>25</a:t>
            </a:fld>
            <a:endParaRPr lang="en-US" dirty="0"/>
          </a:p>
        </p:txBody>
      </p:sp>
      <p:pic>
        <p:nvPicPr>
          <p:cNvPr id="9" name="Picture 8"/>
          <p:cNvPicPr>
            <a:picLocks noChangeAspect="1"/>
          </p:cNvPicPr>
          <p:nvPr/>
        </p:nvPicPr>
        <p:blipFill rotWithShape="1">
          <a:blip r:embed="rId10">
            <a:extLst>
              <a:ext uri="{28A0092B-C50C-407E-A947-70E740481C1C}">
                <a14:useLocalDpi xmlns:a14="http://schemas.microsoft.com/office/drawing/2010/main" val="0"/>
              </a:ext>
            </a:extLst>
          </a:blip>
          <a:srcRect l="3055" t="3333" r="65972" b="77361"/>
          <a:stretch/>
        </p:blipFill>
        <p:spPr>
          <a:xfrm>
            <a:off x="9583286" y="496177"/>
            <a:ext cx="2124075" cy="1323975"/>
          </a:xfrm>
          <a:prstGeom prst="rect">
            <a:avLst/>
          </a:prstGeom>
        </p:spPr>
      </p:pic>
    </p:spTree>
    <p:custDataLst>
      <p:tags r:id="rId1"/>
    </p:custDataLst>
    <p:extLst>
      <p:ext uri="{BB962C8B-B14F-4D97-AF65-F5344CB8AC3E}">
        <p14:creationId xmlns:p14="http://schemas.microsoft.com/office/powerpoint/2010/main" val="38123308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moting professionalism pyramid</a:t>
            </a:r>
          </a:p>
        </p:txBody>
      </p:sp>
      <p:sp>
        <p:nvSpPr>
          <p:cNvPr id="3" name="Slide Number Placeholder 2"/>
          <p:cNvSpPr>
            <a:spLocks noGrp="1"/>
          </p:cNvSpPr>
          <p:nvPr>
            <p:ph type="sldNum" sz="quarter" idx="12"/>
          </p:nvPr>
        </p:nvSpPr>
        <p:spPr/>
        <p:txBody>
          <a:bodyPr/>
          <a:lstStyle/>
          <a:p>
            <a:fld id="{DA135043-C596-1A48-8BDA-03EB29A64DF4}" type="slidenum">
              <a:rPr lang="en-US" smtClean="0"/>
              <a:pPr/>
              <a:t>26</a:t>
            </a:fld>
            <a:endParaRPr lang="en-US"/>
          </a:p>
        </p:txBody>
      </p:sp>
      <p:sp>
        <p:nvSpPr>
          <p:cNvPr id="4" name="Text Placeholder 3"/>
          <p:cNvSpPr>
            <a:spLocks noGrp="1"/>
          </p:cNvSpPr>
          <p:nvPr>
            <p:ph type="body" sz="quarter" idx="14"/>
          </p:nvPr>
        </p:nvSpPr>
        <p:spPr>
          <a:xfrm>
            <a:off x="414731" y="6354781"/>
            <a:ext cx="11064240" cy="503219"/>
          </a:xfrm>
        </p:spPr>
        <p:txBody>
          <a:bodyPr/>
          <a:lstStyle/>
          <a:p>
            <a:r>
              <a:rPr lang="en-US" dirty="0"/>
              <a:t>Hickson, G. B., </a:t>
            </a:r>
            <a:r>
              <a:rPr lang="en-US" dirty="0" err="1"/>
              <a:t>Pichert</a:t>
            </a:r>
            <a:r>
              <a:rPr lang="en-US" dirty="0"/>
              <a:t>, J. W., Webb, L. E., &amp; </a:t>
            </a:r>
            <a:r>
              <a:rPr lang="en-US" dirty="0" err="1"/>
              <a:t>Gabbe</a:t>
            </a:r>
            <a:r>
              <a:rPr lang="en-US" dirty="0"/>
              <a:t>, S. G. (2007). A complementary approach to promoting professionalism: Identifying, measuring, and addressing unprofessional behaviors. </a:t>
            </a:r>
            <a:r>
              <a:rPr lang="en-US" i="1" dirty="0"/>
              <a:t>Academic Medicine, 82</a:t>
            </a:r>
            <a:r>
              <a:rPr lang="en-US" dirty="0"/>
              <a:t>(11), 1,040-1,048. </a:t>
            </a:r>
            <a:r>
              <a:rPr lang="en-US" dirty="0">
                <a:hlinkClick r:id="rId3"/>
              </a:rPr>
              <a:t>https://doi.org/10.1097/acm.0b013e31815761ee</a:t>
            </a:r>
            <a:r>
              <a:rPr lang="en-US" dirty="0"/>
              <a:t>; </a:t>
            </a:r>
            <a:r>
              <a:rPr lang="en-US" dirty="0" err="1"/>
              <a:t>Pichert</a:t>
            </a:r>
            <a:r>
              <a:rPr lang="en-US" dirty="0"/>
              <a:t>, J. W., et al. (2017). </a:t>
            </a:r>
            <a:r>
              <a:rPr lang="en-US" i="1" dirty="0"/>
              <a:t>Planning and implementing the Patient Advocacy Reporting System in the Sanford Health System. </a:t>
            </a:r>
            <a:r>
              <a:rPr lang="en-US" dirty="0"/>
              <a:t>Agency for Healthcare Research and Quality. Retrieved from </a:t>
            </a:r>
            <a:r>
              <a:rPr lang="en-US" dirty="0">
                <a:hlinkClick r:id="rId4"/>
              </a:rPr>
              <a:t>https://www.ahrq.gov/patient-safety/resources/liability/pichert.html</a:t>
            </a:r>
            <a:r>
              <a:rPr lang="en-US" dirty="0"/>
              <a:t> </a:t>
            </a:r>
          </a:p>
        </p:txBody>
      </p:sp>
      <p:pic>
        <p:nvPicPr>
          <p:cNvPr id="9" name="Content Placeholder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30168" y="863600"/>
            <a:ext cx="8139601" cy="5349875"/>
          </a:xfrm>
          <a:prstGeom prst="rect">
            <a:avLst/>
          </a:prstGeom>
        </p:spPr>
      </p:pic>
    </p:spTree>
    <p:extLst>
      <p:ext uri="{BB962C8B-B14F-4D97-AF65-F5344CB8AC3E}">
        <p14:creationId xmlns:p14="http://schemas.microsoft.com/office/powerpoint/2010/main" val="11556571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141306"/>
            <a:ext cx="11058132" cy="709743"/>
          </a:xfrm>
          <a:solidFill>
            <a:srgbClr val="FFFFFF"/>
          </a:solidFill>
          <a:ln/>
        </p:spPr>
        <p:txBody>
          <a:bodyPr lIns="91440" tIns="45720" rIns="91440" bIns="45720" anchor="ctr">
            <a:noAutofit/>
          </a:bodyPr>
          <a:lstStyle/>
          <a:p>
            <a:r>
              <a:rPr lang="en-US" dirty="0">
                <a:solidFill>
                  <a:srgbClr val="002F6B"/>
                </a:solidFill>
                <a:latin typeface="Arial" panose="020B0604020202020204" pitchFamily="34" charset="0"/>
              </a:rPr>
              <a:t>Patient Advocacy Reporting System</a:t>
            </a:r>
            <a:r>
              <a:rPr lang="en-US" baseline="30000" dirty="0">
                <a:solidFill>
                  <a:srgbClr val="002F6B"/>
                </a:solidFill>
                <a:latin typeface="Arial" panose="020B0604020202020204" pitchFamily="34" charset="0"/>
              </a:rPr>
              <a:t>®</a:t>
            </a:r>
            <a:r>
              <a:rPr lang="en-US" dirty="0">
                <a:solidFill>
                  <a:srgbClr val="002F6B"/>
                </a:solidFill>
                <a:latin typeface="Arial" panose="020B0604020202020204" pitchFamily="34" charset="0"/>
              </a:rPr>
              <a:t> (PARS</a:t>
            </a:r>
            <a:r>
              <a:rPr lang="en-US" baseline="30000" dirty="0">
                <a:solidFill>
                  <a:srgbClr val="002F6B"/>
                </a:solidFill>
                <a:latin typeface="Arial" panose="020B0604020202020204" pitchFamily="34" charset="0"/>
              </a:rPr>
              <a:t>®</a:t>
            </a:r>
            <a:r>
              <a:rPr lang="en-US" dirty="0">
                <a:solidFill>
                  <a:srgbClr val="002F6B"/>
                </a:solidFill>
                <a:latin typeface="Arial" panose="020B0604020202020204" pitchFamily="34" charset="0"/>
              </a:rPr>
              <a:t>) national data sample</a:t>
            </a:r>
          </a:p>
        </p:txBody>
      </p:sp>
      <p:sp>
        <p:nvSpPr>
          <p:cNvPr id="3" name="Slide Number Placeholder 2"/>
          <p:cNvSpPr>
            <a:spLocks noGrp="1"/>
          </p:cNvSpPr>
          <p:nvPr>
            <p:ph type="sldNum" sz="quarter" idx="12"/>
          </p:nvPr>
        </p:nvSpPr>
        <p:spPr/>
        <p:txBody>
          <a:bodyPr/>
          <a:lstStyle/>
          <a:p>
            <a:fld id="{DA135043-C596-1A48-8BDA-03EB29A64DF4}" type="slidenum">
              <a:rPr lang="en-US" smtClean="0"/>
              <a:pPr/>
              <a:t>27</a:t>
            </a:fld>
            <a:endParaRPr lang="en-US"/>
          </a:p>
        </p:txBody>
      </p:sp>
      <p:sp>
        <p:nvSpPr>
          <p:cNvPr id="4" name="Text Placeholder 3"/>
          <p:cNvSpPr>
            <a:spLocks noGrp="1"/>
          </p:cNvSpPr>
          <p:nvPr>
            <p:ph type="body" sz="quarter" idx="14"/>
          </p:nvPr>
        </p:nvSpPr>
        <p:spPr>
          <a:xfrm>
            <a:off x="414731" y="6176652"/>
            <a:ext cx="11064240" cy="681348"/>
          </a:xfrm>
        </p:spPr>
        <p:txBody>
          <a:bodyPr/>
          <a:lstStyle/>
          <a:p>
            <a:r>
              <a:rPr lang="en-US" dirty="0"/>
              <a:t>Hickson, G.B., et al. (2007). Patient complaints and malpractice risk in a regional healthcare center. </a:t>
            </a:r>
            <a:r>
              <a:rPr lang="en-US" i="1" dirty="0"/>
              <a:t>Southern Medical Journal, 100</a:t>
            </a:r>
            <a:r>
              <a:rPr lang="en-US" dirty="0"/>
              <a:t>(8), 791-796. </a:t>
            </a:r>
            <a:r>
              <a:rPr lang="en-US" dirty="0">
                <a:hlinkClick r:id="rId3"/>
              </a:rPr>
              <a:t>https://doi.org/10.1097/SMJ.0b013e318063bd75</a:t>
            </a:r>
            <a:r>
              <a:rPr lang="en-US" dirty="0"/>
              <a:t>; Moore, I., </a:t>
            </a:r>
            <a:r>
              <a:rPr lang="en-US" dirty="0" err="1"/>
              <a:t>Pichert</a:t>
            </a:r>
            <a:r>
              <a:rPr lang="en-US" dirty="0"/>
              <a:t>, J., Hickson, G., &amp; </a:t>
            </a:r>
            <a:r>
              <a:rPr lang="en-US" dirty="0" err="1"/>
              <a:t>Federspiel</a:t>
            </a:r>
            <a:r>
              <a:rPr lang="en-US" dirty="0"/>
              <a:t>, C. (2006). Rethinking peer review: Detecting and addressing medical malpractice claims risk. </a:t>
            </a:r>
            <a:r>
              <a:rPr lang="en-US" i="1" dirty="0"/>
              <a:t>Vanderbilt Law Review, 59</a:t>
            </a:r>
            <a:r>
              <a:rPr lang="en-US" dirty="0"/>
              <a:t>(4), 1,175−1,206. Retrieved from </a:t>
            </a:r>
            <a:r>
              <a:rPr lang="en-US" dirty="0">
                <a:hlinkClick r:id="rId4"/>
              </a:rPr>
              <a:t>https://scholarship.law.vanderbilt.edu/vlr/vol59/iss4/6/</a:t>
            </a:r>
            <a:r>
              <a:rPr lang="en-US" dirty="0"/>
              <a:t>; Hickson, G.B., et al. (2002). Patient complaints and malpractice risk. </a:t>
            </a:r>
            <a:r>
              <a:rPr lang="en-US" i="1" dirty="0"/>
              <a:t>JAMA,</a:t>
            </a:r>
            <a:r>
              <a:rPr lang="en-US" dirty="0"/>
              <a:t> </a:t>
            </a:r>
            <a:r>
              <a:rPr lang="en-US" i="1" dirty="0"/>
              <a:t>287</a:t>
            </a:r>
            <a:r>
              <a:rPr lang="en-US" dirty="0"/>
              <a:t>(22), 2,951-2,957; Vanderbilt Center for Patient and Professional Advocacy. The Patient Advocacy Reporting System® (PARS®) Program. Retrieved from </a:t>
            </a:r>
            <a:r>
              <a:rPr lang="en-US" dirty="0">
                <a:hlinkClick r:id="rId5"/>
              </a:rPr>
              <a:t>www.vumc.org/patient-professional-advocacy/pars-program</a:t>
            </a:r>
            <a:endParaRPr lang="en-US" dirty="0"/>
          </a:p>
        </p:txBody>
      </p:sp>
      <p:pic>
        <p:nvPicPr>
          <p:cNvPr id="5" name="Picture 2" descr="https://www.vumc.org/patient-professional-advocacy/sites/default/files/public_files/PARS%20and%20CORS%20Score%20National%20Curve%20Sample-01.jpg"/>
          <p:cNvPicPr>
            <a:picLocks noChangeAspect="1" noChangeArrowheads="1"/>
          </p:cNvPicPr>
          <p:nvPr/>
        </p:nvPicPr>
        <p:blipFill rotWithShape="1">
          <a:blip r:embed="rId6" cstate="screen">
            <a:extLst>
              <a:ext uri="{BEBA8EAE-BF5A-486C-A8C5-ECC9F3942E4B}">
                <a14:imgProps xmlns:a14="http://schemas.microsoft.com/office/drawing/2010/main">
                  <a14:imgLayer r:embed="rId7">
                    <a14:imgEffect>
                      <a14:sharpenSoften amount="20000"/>
                    </a14:imgEffect>
                    <a14:imgEffect>
                      <a14:saturation sat="80000"/>
                    </a14:imgEffect>
                  </a14:imgLayer>
                </a14:imgProps>
              </a:ext>
              <a:ext uri="{28A0092B-C50C-407E-A947-70E740481C1C}">
                <a14:useLocalDpi xmlns:a14="http://schemas.microsoft.com/office/drawing/2010/main"/>
              </a:ext>
            </a:extLst>
          </a:blip>
          <a:srcRect/>
          <a:stretch/>
        </p:blipFill>
        <p:spPr bwMode="auto">
          <a:xfrm>
            <a:off x="3516923" y="922686"/>
            <a:ext cx="5416062" cy="51726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20011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rnout &amp; empathy</a:t>
            </a:r>
          </a:p>
        </p:txBody>
      </p:sp>
    </p:spTree>
    <p:extLst>
      <p:ext uri="{BB962C8B-B14F-4D97-AF65-F5344CB8AC3E}">
        <p14:creationId xmlns:p14="http://schemas.microsoft.com/office/powerpoint/2010/main" val="33733722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rnout</a:t>
            </a:r>
          </a:p>
        </p:txBody>
      </p:sp>
      <p:sp>
        <p:nvSpPr>
          <p:cNvPr id="3" name="Slide Number Placeholder 2"/>
          <p:cNvSpPr>
            <a:spLocks noGrp="1"/>
          </p:cNvSpPr>
          <p:nvPr>
            <p:ph type="sldNum" sz="quarter" idx="12"/>
          </p:nvPr>
        </p:nvSpPr>
        <p:spPr/>
        <p:txBody>
          <a:bodyPr/>
          <a:lstStyle/>
          <a:p>
            <a:fld id="{DA135043-C596-1A48-8BDA-03EB29A64DF4}" type="slidenum">
              <a:rPr lang="en-US" smtClean="0"/>
              <a:t>29</a:t>
            </a:fld>
            <a:endParaRPr lang="en-US" dirty="0"/>
          </a:p>
        </p:txBody>
      </p:sp>
      <p:sp>
        <p:nvSpPr>
          <p:cNvPr id="6" name="Text Placeholder 5"/>
          <p:cNvSpPr>
            <a:spLocks noGrp="1"/>
          </p:cNvSpPr>
          <p:nvPr>
            <p:ph type="body" sz="quarter" idx="14"/>
          </p:nvPr>
        </p:nvSpPr>
        <p:spPr>
          <a:xfrm>
            <a:off x="414731" y="6296929"/>
            <a:ext cx="11064240" cy="490668"/>
          </a:xfrm>
        </p:spPr>
        <p:txBody>
          <a:bodyPr/>
          <a:lstStyle/>
          <a:p>
            <a:r>
              <a:rPr lang="en-US" dirty="0"/>
              <a:t>Sinsky, C. A., Brown, R. L., </a:t>
            </a:r>
            <a:r>
              <a:rPr lang="en-US" dirty="0" err="1"/>
              <a:t>Stillman</a:t>
            </a:r>
            <a:r>
              <a:rPr lang="en-US" dirty="0"/>
              <a:t>, M. J., &amp; Linzer, M. (2021). COVID-related stress and work intentions in a sample of US health care workers. </a:t>
            </a:r>
            <a:r>
              <a:rPr lang="en-US" i="1" dirty="0"/>
              <a:t>Mayo Clinic Proceedings Innovations, Quality &amp; Outcomes, 5</a:t>
            </a:r>
            <a:r>
              <a:rPr lang="en-US" dirty="0"/>
              <a:t>(6), 1,165–1,173. </a:t>
            </a:r>
            <a:r>
              <a:rPr lang="en-US" dirty="0">
                <a:hlinkClick r:id="rId3"/>
              </a:rPr>
              <a:t>https://doi.org/10.1016/j.mayocpiqo.2021.08.007</a:t>
            </a:r>
            <a:r>
              <a:rPr lang="en-US" dirty="0"/>
              <a:t>; Leal-Costa, C., </a:t>
            </a:r>
            <a:r>
              <a:rPr lang="en-US" dirty="0" err="1"/>
              <a:t>Díaz-Agea</a:t>
            </a:r>
            <a:r>
              <a:rPr lang="en-US" dirty="0"/>
              <a:t>, J. L., Tirado-González, S., Rodríguez-</a:t>
            </a:r>
            <a:r>
              <a:rPr lang="en-US" dirty="0" err="1"/>
              <a:t>Marín</a:t>
            </a:r>
            <a:r>
              <a:rPr lang="en-US" dirty="0"/>
              <a:t>, J., &amp; van-der </a:t>
            </a:r>
            <a:r>
              <a:rPr lang="en-US" dirty="0" err="1"/>
              <a:t>Hofstadt</a:t>
            </a:r>
            <a:r>
              <a:rPr lang="en-US" dirty="0"/>
              <a:t>, C. J. (2015). Communication skills: A preventive factor in Burnout syndrome in health professionals. </a:t>
            </a:r>
            <a:r>
              <a:rPr lang="en-US" i="1" dirty="0" err="1"/>
              <a:t>Anales</a:t>
            </a:r>
            <a:r>
              <a:rPr lang="en-US" i="1" dirty="0"/>
              <a:t> del </a:t>
            </a:r>
            <a:r>
              <a:rPr lang="en-US" i="1" dirty="0" err="1"/>
              <a:t>sistema</a:t>
            </a:r>
            <a:r>
              <a:rPr lang="en-US" i="1" dirty="0"/>
              <a:t> </a:t>
            </a:r>
            <a:r>
              <a:rPr lang="en-US" i="1" dirty="0" err="1"/>
              <a:t>sanitario</a:t>
            </a:r>
            <a:r>
              <a:rPr lang="en-US" i="1" dirty="0"/>
              <a:t> de Navarra, 38</a:t>
            </a:r>
            <a:r>
              <a:rPr lang="en-US" dirty="0"/>
              <a:t>(2), 213–223. </a:t>
            </a:r>
            <a:r>
              <a:rPr lang="en-US" dirty="0">
                <a:hlinkClick r:id="rId4"/>
              </a:rPr>
              <a:t>https://doi.org/10.23938/ASSN.0070</a:t>
            </a:r>
            <a:r>
              <a:rPr lang="en-US" dirty="0"/>
              <a:t> </a:t>
            </a:r>
          </a:p>
        </p:txBody>
      </p:sp>
      <p:graphicFrame>
        <p:nvGraphicFramePr>
          <p:cNvPr id="7" name="Diagram 6"/>
          <p:cNvGraphicFramePr/>
          <p:nvPr>
            <p:extLst>
              <p:ext uri="{D42A27DB-BD31-4B8C-83A1-F6EECF244321}">
                <p14:modId xmlns:p14="http://schemas.microsoft.com/office/powerpoint/2010/main" val="2633111300"/>
              </p:ext>
            </p:extLst>
          </p:nvPr>
        </p:nvGraphicFramePr>
        <p:xfrm>
          <a:off x="414731" y="847905"/>
          <a:ext cx="11307006" cy="53090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 name="Picture 9"/>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23870" t="13279" r="21495" b="11498"/>
          <a:stretch/>
        </p:blipFill>
        <p:spPr>
          <a:xfrm>
            <a:off x="10789420" y="0"/>
            <a:ext cx="1212079" cy="1668804"/>
          </a:xfrm>
          <a:prstGeom prst="rect">
            <a:avLst/>
          </a:prstGeom>
        </p:spPr>
      </p:pic>
    </p:spTree>
    <p:extLst>
      <p:ext uri="{BB962C8B-B14F-4D97-AF65-F5344CB8AC3E}">
        <p14:creationId xmlns:p14="http://schemas.microsoft.com/office/powerpoint/2010/main" val="26859576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bjectives</a:t>
            </a:r>
          </a:p>
        </p:txBody>
      </p:sp>
      <p:sp>
        <p:nvSpPr>
          <p:cNvPr id="3" name="Slide Number Placeholder 2"/>
          <p:cNvSpPr>
            <a:spLocks noGrp="1"/>
          </p:cNvSpPr>
          <p:nvPr>
            <p:ph type="sldNum" sz="quarter" idx="12"/>
          </p:nvPr>
        </p:nvSpPr>
        <p:spPr/>
        <p:txBody>
          <a:bodyPr/>
          <a:lstStyle/>
          <a:p>
            <a:fld id="{DA135043-C596-1A48-8BDA-03EB29A64DF4}" type="slidenum">
              <a:rPr lang="en-US" smtClean="0"/>
              <a:t>3</a:t>
            </a:fld>
            <a:endParaRPr lang="en-US" dirty="0"/>
          </a:p>
        </p:txBody>
      </p:sp>
      <p:graphicFrame>
        <p:nvGraphicFramePr>
          <p:cNvPr id="2" name="Diagram 1"/>
          <p:cNvGraphicFramePr/>
          <p:nvPr>
            <p:extLst>
              <p:ext uri="{D42A27DB-BD31-4B8C-83A1-F6EECF244321}">
                <p14:modId xmlns:p14="http://schemas.microsoft.com/office/powerpoint/2010/main" val="2486586290"/>
              </p:ext>
            </p:extLst>
          </p:nvPr>
        </p:nvGraphicFramePr>
        <p:xfrm>
          <a:off x="708024" y="851050"/>
          <a:ext cx="11160125" cy="51020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620081" y="3734713"/>
            <a:ext cx="2103468" cy="1904087"/>
          </a:xfrm>
          <a:prstGeom prst="rect">
            <a:avLst/>
          </a:prstGeom>
        </p:spPr>
      </p:pic>
    </p:spTree>
    <p:extLst>
      <p:ext uri="{BB962C8B-B14F-4D97-AF65-F5344CB8AC3E}">
        <p14:creationId xmlns:p14="http://schemas.microsoft.com/office/powerpoint/2010/main" val="16256841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rnout (continued)</a:t>
            </a:r>
          </a:p>
        </p:txBody>
      </p:sp>
      <p:sp>
        <p:nvSpPr>
          <p:cNvPr id="3" name="Slide Number Placeholder 2"/>
          <p:cNvSpPr>
            <a:spLocks noGrp="1"/>
          </p:cNvSpPr>
          <p:nvPr>
            <p:ph type="sldNum" sz="quarter" idx="12"/>
          </p:nvPr>
        </p:nvSpPr>
        <p:spPr/>
        <p:txBody>
          <a:bodyPr/>
          <a:lstStyle/>
          <a:p>
            <a:fld id="{DA135043-C596-1A48-8BDA-03EB29A64DF4}" type="slidenum">
              <a:rPr lang="en-US" smtClean="0"/>
              <a:t>30</a:t>
            </a:fld>
            <a:endParaRPr lang="en-US" dirty="0"/>
          </a:p>
        </p:txBody>
      </p:sp>
      <p:sp>
        <p:nvSpPr>
          <p:cNvPr id="4" name="Text Placeholder 3"/>
          <p:cNvSpPr>
            <a:spLocks noGrp="1"/>
          </p:cNvSpPr>
          <p:nvPr>
            <p:ph type="body" sz="quarter" idx="14"/>
          </p:nvPr>
        </p:nvSpPr>
        <p:spPr/>
        <p:txBody>
          <a:bodyPr/>
          <a:lstStyle/>
          <a:p>
            <a:r>
              <a:rPr lang="en-US" dirty="0"/>
              <a:t>Sinsky, C. A., Brown, R. L., </a:t>
            </a:r>
            <a:r>
              <a:rPr lang="en-US" dirty="0" err="1"/>
              <a:t>Stillman</a:t>
            </a:r>
            <a:r>
              <a:rPr lang="en-US" dirty="0"/>
              <a:t>, M. J., &amp; Linzer, M. (2021). COVID-related stress and work intentions in a sample of US health care workers. </a:t>
            </a:r>
            <a:r>
              <a:rPr lang="en-US" i="1" dirty="0"/>
              <a:t>Mayo Clinic Proceedings Innovations, Quality &amp; Outcomes, 5</a:t>
            </a:r>
            <a:r>
              <a:rPr lang="en-US" dirty="0"/>
              <a:t>(6), 1,165–1,173. </a:t>
            </a:r>
            <a:r>
              <a:rPr lang="en-US" dirty="0">
                <a:hlinkClick r:id="rId3"/>
              </a:rPr>
              <a:t>https://doi.org/10.1016/j.mayocpiqo.2021.08.007</a:t>
            </a:r>
            <a:endParaRPr lang="en-US" dirty="0"/>
          </a:p>
        </p:txBody>
      </p:sp>
      <p:pic>
        <p:nvPicPr>
          <p:cNvPr id="14" name="Content Placeholder 5"/>
          <p:cNvPicPr>
            <a:picLocks noGrp="1" noChangeAspect="1"/>
          </p:cNvPicPr>
          <p:nvPr>
            <p:ph idx="4294967295"/>
          </p:nvPr>
        </p:nvPicPr>
        <p:blipFill>
          <a:blip r:embed="rId4">
            <a:extLst>
              <a:ext uri="{28A0092B-C50C-407E-A947-70E740481C1C}">
                <a14:useLocalDpi xmlns:a14="http://schemas.microsoft.com/office/drawing/2010/main" val="0"/>
              </a:ext>
            </a:extLst>
          </a:blip>
          <a:stretch>
            <a:fillRect/>
          </a:stretch>
        </p:blipFill>
        <p:spPr>
          <a:xfrm>
            <a:off x="3379984" y="1044296"/>
            <a:ext cx="5127625" cy="5249862"/>
          </a:xfrm>
        </p:spPr>
      </p:pic>
      <p:pic>
        <p:nvPicPr>
          <p:cNvPr id="5" name="Picture 4"/>
          <p:cNvPicPr>
            <a:picLocks noChangeAspect="1"/>
          </p:cNvPicPr>
          <p:nvPr/>
        </p:nvPicPr>
        <p:blipFill>
          <a:blip r:embed="rId5"/>
          <a:stretch>
            <a:fillRect/>
          </a:stretch>
        </p:blipFill>
        <p:spPr>
          <a:xfrm>
            <a:off x="10660020" y="209071"/>
            <a:ext cx="1213209" cy="1670449"/>
          </a:xfrm>
          <a:prstGeom prst="rect">
            <a:avLst/>
          </a:prstGeom>
        </p:spPr>
      </p:pic>
    </p:spTree>
    <p:extLst>
      <p:ext uri="{BB962C8B-B14F-4D97-AF65-F5344CB8AC3E}">
        <p14:creationId xmlns:p14="http://schemas.microsoft.com/office/powerpoint/2010/main" val="35602918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VID effect</a:t>
            </a:r>
          </a:p>
        </p:txBody>
      </p:sp>
      <p:sp>
        <p:nvSpPr>
          <p:cNvPr id="3" name="Slide Number Placeholder 2"/>
          <p:cNvSpPr>
            <a:spLocks noGrp="1"/>
          </p:cNvSpPr>
          <p:nvPr>
            <p:ph type="sldNum" sz="quarter" idx="12"/>
          </p:nvPr>
        </p:nvSpPr>
        <p:spPr/>
        <p:txBody>
          <a:bodyPr/>
          <a:lstStyle/>
          <a:p>
            <a:fld id="{DA135043-C596-1A48-8BDA-03EB29A64DF4}" type="slidenum">
              <a:rPr lang="en-US" smtClean="0"/>
              <a:t>31</a:t>
            </a:fld>
            <a:endParaRPr lang="en-US" dirty="0"/>
          </a:p>
        </p:txBody>
      </p:sp>
      <p:sp>
        <p:nvSpPr>
          <p:cNvPr id="4" name="Text Placeholder 3"/>
          <p:cNvSpPr>
            <a:spLocks noGrp="1"/>
          </p:cNvSpPr>
          <p:nvPr>
            <p:ph type="body" sz="quarter" idx="14"/>
          </p:nvPr>
        </p:nvSpPr>
        <p:spPr/>
        <p:txBody>
          <a:bodyPr/>
          <a:lstStyle/>
          <a:p>
            <a:r>
              <a:rPr lang="en-US" dirty="0"/>
              <a:t>Sinsky, C. A., Brown, R. L., </a:t>
            </a:r>
            <a:r>
              <a:rPr lang="en-US" dirty="0" err="1"/>
              <a:t>Stillman</a:t>
            </a:r>
            <a:r>
              <a:rPr lang="en-US" dirty="0"/>
              <a:t>, M. J., &amp; Linzer, M. (2021). COVID-related stress and work intentions in a sample of US health care workers. </a:t>
            </a:r>
            <a:r>
              <a:rPr lang="en-US" i="1" dirty="0"/>
              <a:t>Mayo Clinic Proceedings Innovations, Quality &amp; Outcomes, 5</a:t>
            </a:r>
            <a:r>
              <a:rPr lang="en-US" dirty="0"/>
              <a:t>(6), 1,165–1,173. </a:t>
            </a:r>
            <a:r>
              <a:rPr lang="en-US" dirty="0">
                <a:hlinkClick r:id="rId3"/>
              </a:rPr>
              <a:t>https://doi.org/10.1016/j.mayocpiqo.2021.08.007</a:t>
            </a:r>
            <a:endParaRPr lang="en-US" dirty="0"/>
          </a:p>
        </p:txBody>
      </p:sp>
      <p:pic>
        <p:nvPicPr>
          <p:cNvPr id="5" name="Content Placeholder 4"/>
          <p:cNvPicPr>
            <a:picLocks noGrp="1" noChangeAspect="1"/>
          </p:cNvPicPr>
          <p:nvPr>
            <p:ph idx="4294967295"/>
          </p:nvPr>
        </p:nvPicPr>
        <p:blipFill>
          <a:blip r:embed="rId4">
            <a:extLst>
              <a:ext uri="{28A0092B-C50C-407E-A947-70E740481C1C}">
                <a14:useLocalDpi xmlns:a14="http://schemas.microsoft.com/office/drawing/2010/main" val="0"/>
              </a:ext>
            </a:extLst>
          </a:blip>
          <a:stretch>
            <a:fillRect/>
          </a:stretch>
        </p:blipFill>
        <p:spPr>
          <a:xfrm>
            <a:off x="1905991" y="1088746"/>
            <a:ext cx="8075612" cy="5160962"/>
          </a:xfrm>
        </p:spPr>
      </p:pic>
    </p:spTree>
    <p:extLst>
      <p:ext uri="{BB962C8B-B14F-4D97-AF65-F5344CB8AC3E}">
        <p14:creationId xmlns:p14="http://schemas.microsoft.com/office/powerpoint/2010/main" val="21882792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lutions</a:t>
            </a:r>
          </a:p>
        </p:txBody>
      </p:sp>
    </p:spTree>
    <p:extLst>
      <p:ext uri="{BB962C8B-B14F-4D97-AF65-F5344CB8AC3E}">
        <p14:creationId xmlns:p14="http://schemas.microsoft.com/office/powerpoint/2010/main" val="19214119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pathy</a:t>
            </a:r>
          </a:p>
        </p:txBody>
      </p:sp>
      <p:sp>
        <p:nvSpPr>
          <p:cNvPr id="3" name="Slide Number Placeholder 2"/>
          <p:cNvSpPr>
            <a:spLocks noGrp="1"/>
          </p:cNvSpPr>
          <p:nvPr>
            <p:ph type="sldNum" sz="quarter" idx="12"/>
          </p:nvPr>
        </p:nvSpPr>
        <p:spPr/>
        <p:txBody>
          <a:bodyPr/>
          <a:lstStyle/>
          <a:p>
            <a:fld id="{DA135043-C596-1A48-8BDA-03EB29A64DF4}" type="slidenum">
              <a:rPr lang="en-US" smtClean="0"/>
              <a:t>33</a:t>
            </a:fld>
            <a:endParaRPr lang="en-US" dirty="0"/>
          </a:p>
        </p:txBody>
      </p:sp>
      <p:sp>
        <p:nvSpPr>
          <p:cNvPr id="5" name="Text Placeholder 4"/>
          <p:cNvSpPr>
            <a:spLocks noGrp="1"/>
          </p:cNvSpPr>
          <p:nvPr>
            <p:ph type="body" sz="quarter" idx="14"/>
          </p:nvPr>
        </p:nvSpPr>
        <p:spPr>
          <a:xfrm>
            <a:off x="414730" y="6352265"/>
            <a:ext cx="11064240" cy="434705"/>
          </a:xfrm>
        </p:spPr>
        <p:txBody>
          <a:bodyPr/>
          <a:lstStyle/>
          <a:p>
            <a:r>
              <a:rPr lang="en-US" dirty="0"/>
              <a:t>Medical Professional Liability Association. (2021). Empathy training tied to improved patient satisfaction, lower MPL risk. </a:t>
            </a:r>
            <a:r>
              <a:rPr lang="en-US" i="1" dirty="0"/>
              <a:t>Inside Medical Liability. </a:t>
            </a:r>
            <a:r>
              <a:rPr lang="en-US" dirty="0"/>
              <a:t>Retrieved from </a:t>
            </a:r>
            <a:r>
              <a:rPr lang="en-US" dirty="0">
                <a:hlinkClick r:id="rId3"/>
              </a:rPr>
              <a:t>www.mplassociation.org/Web/Publications/</a:t>
            </a:r>
            <a:br>
              <a:rPr lang="en-US" dirty="0">
                <a:hlinkClick r:id="rId3"/>
              </a:rPr>
            </a:br>
            <a:r>
              <a:rPr lang="en-US" dirty="0" err="1">
                <a:hlinkClick r:id="rId3"/>
              </a:rPr>
              <a:t>Inside_Medical_Liability</a:t>
            </a:r>
            <a:r>
              <a:rPr lang="en-US" dirty="0">
                <a:hlinkClick r:id="rId3"/>
              </a:rPr>
              <a:t>/Issues/2021/Q3/articles/Empathy_Training_Patient_Satisfaction.aspx</a:t>
            </a:r>
            <a:r>
              <a:rPr lang="en-US" dirty="0"/>
              <a:t>; Reiss, H. (2021, September 25). More empathy means better care, less medical liability. </a:t>
            </a:r>
            <a:r>
              <a:rPr lang="en-US" i="1" dirty="0" err="1"/>
              <a:t>MedPage</a:t>
            </a:r>
            <a:r>
              <a:rPr lang="en-US" i="1" dirty="0"/>
              <a:t> Today. </a:t>
            </a:r>
            <a:r>
              <a:rPr lang="en-US" dirty="0"/>
              <a:t>Retrieved from </a:t>
            </a:r>
            <a:r>
              <a:rPr lang="en-US" dirty="0">
                <a:hlinkClick r:id="rId4"/>
              </a:rPr>
              <a:t>www.medpagetoday.com/opinion/kevinmd/94699</a:t>
            </a:r>
            <a:r>
              <a:rPr lang="en-US" dirty="0"/>
              <a:t> </a:t>
            </a:r>
          </a:p>
        </p:txBody>
      </p:sp>
      <p:graphicFrame>
        <p:nvGraphicFramePr>
          <p:cNvPr id="9" name="Table 8"/>
          <p:cNvGraphicFramePr>
            <a:graphicFrameLocks noGrp="1"/>
          </p:cNvGraphicFramePr>
          <p:nvPr>
            <p:extLst>
              <p:ext uri="{D42A27DB-BD31-4B8C-83A1-F6EECF244321}">
                <p14:modId xmlns:p14="http://schemas.microsoft.com/office/powerpoint/2010/main" val="1276066087"/>
              </p:ext>
            </p:extLst>
          </p:nvPr>
        </p:nvGraphicFramePr>
        <p:xfrm>
          <a:off x="6801292" y="1213117"/>
          <a:ext cx="4793807" cy="1288084"/>
        </p:xfrm>
        <a:graphic>
          <a:graphicData uri="http://schemas.openxmlformats.org/drawingml/2006/table">
            <a:tbl>
              <a:tblPr firstRow="1" bandRow="1">
                <a:tableStyleId>{C083E6E3-FA7D-4D7B-A595-EF9225AFEA82}</a:tableStyleId>
              </a:tblPr>
              <a:tblGrid>
                <a:gridCol w="4793807">
                  <a:extLst>
                    <a:ext uri="{9D8B030D-6E8A-4147-A177-3AD203B41FA5}">
                      <a16:colId xmlns:a16="http://schemas.microsoft.com/office/drawing/2014/main" val="4122795442"/>
                    </a:ext>
                  </a:extLst>
                </a:gridCol>
              </a:tblGrid>
              <a:tr h="1288084">
                <a:tc>
                  <a:txBody>
                    <a:bodyPr/>
                    <a:lstStyle/>
                    <a:p>
                      <a:pPr marL="0" marR="0" lvl="0" indent="0" algn="ctr" defTabSz="1306218" rtl="0" eaLnBrk="1" fontAlgn="auto" latinLnBrk="0" hangingPunct="1">
                        <a:lnSpc>
                          <a:spcPct val="100000"/>
                        </a:lnSpc>
                        <a:spcBef>
                          <a:spcPts val="0"/>
                        </a:spcBef>
                        <a:spcAft>
                          <a:spcPts val="0"/>
                        </a:spcAft>
                        <a:buClrTx/>
                        <a:buSzTx/>
                        <a:buFontTx/>
                        <a:buNone/>
                        <a:tabLst/>
                        <a:defRPr/>
                      </a:pPr>
                      <a:r>
                        <a:rPr lang="en-US" sz="2000" b="0" dirty="0">
                          <a:solidFill>
                            <a:schemeClr val="accent1"/>
                          </a:solidFill>
                        </a:rPr>
                        <a:t>“I had to re-learn to like patients after my residency program.” </a:t>
                      </a:r>
                    </a:p>
                  </a:txBody>
                  <a:tcPr anchor="ctr">
                    <a:lnL>
                      <a:noFill/>
                    </a:lnL>
                    <a:lnR>
                      <a:noFill/>
                    </a:lnR>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4359542"/>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081017333"/>
              </p:ext>
            </p:extLst>
          </p:nvPr>
        </p:nvGraphicFramePr>
        <p:xfrm>
          <a:off x="6895826" y="3640156"/>
          <a:ext cx="4793807" cy="1998921"/>
        </p:xfrm>
        <a:graphic>
          <a:graphicData uri="http://schemas.openxmlformats.org/drawingml/2006/table">
            <a:tbl>
              <a:tblPr firstRow="1" bandRow="1">
                <a:tableStyleId>{C083E6E3-FA7D-4D7B-A595-EF9225AFEA82}</a:tableStyleId>
              </a:tblPr>
              <a:tblGrid>
                <a:gridCol w="4793807">
                  <a:extLst>
                    <a:ext uri="{9D8B030D-6E8A-4147-A177-3AD203B41FA5}">
                      <a16:colId xmlns:a16="http://schemas.microsoft.com/office/drawing/2014/main" val="4122795442"/>
                    </a:ext>
                  </a:extLst>
                </a:gridCol>
              </a:tblGrid>
              <a:tr h="1998921">
                <a:tc>
                  <a:txBody>
                    <a:bodyPr/>
                    <a:lstStyle/>
                    <a:p>
                      <a:pPr marL="0" marR="0" lvl="0" indent="0" algn="ctr" defTabSz="1306218" rtl="0" eaLnBrk="1" fontAlgn="auto" latinLnBrk="0" hangingPunct="1">
                        <a:lnSpc>
                          <a:spcPct val="100000"/>
                        </a:lnSpc>
                        <a:spcBef>
                          <a:spcPts val="0"/>
                        </a:spcBef>
                        <a:spcAft>
                          <a:spcPts val="0"/>
                        </a:spcAft>
                        <a:buClrTx/>
                        <a:buSzTx/>
                        <a:buFontTx/>
                        <a:buNone/>
                        <a:tabLst/>
                        <a:defRPr/>
                      </a:pPr>
                      <a:r>
                        <a:rPr lang="en-US" sz="2000" b="0" dirty="0">
                          <a:solidFill>
                            <a:schemeClr val="accent1"/>
                          </a:solidFill>
                        </a:rPr>
                        <a:t>“After empathy training, I feel that I like my work again, and instead of resenting all the demands, I'm remembering why I chose this profession in the first place.”</a:t>
                      </a:r>
                    </a:p>
                  </a:txBody>
                  <a:tcPr anchor="ctr">
                    <a:lnL>
                      <a:noFill/>
                    </a:lnL>
                    <a:lnR>
                      <a:noFill/>
                    </a:lnR>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4359542"/>
                  </a:ext>
                </a:extLst>
              </a:tr>
            </a:tbl>
          </a:graphicData>
        </a:graphic>
      </p:graphicFrame>
      <p:graphicFrame>
        <p:nvGraphicFramePr>
          <p:cNvPr id="7" name="Diagram 6"/>
          <p:cNvGraphicFramePr/>
          <p:nvPr>
            <p:extLst>
              <p:ext uri="{D42A27DB-BD31-4B8C-83A1-F6EECF244321}">
                <p14:modId xmlns:p14="http://schemas.microsoft.com/office/powerpoint/2010/main" val="4021911247"/>
              </p:ext>
            </p:extLst>
          </p:nvPr>
        </p:nvGraphicFramePr>
        <p:xfrm>
          <a:off x="414731" y="904962"/>
          <a:ext cx="5830784" cy="505768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1" name="Picture 10"/>
          <p:cNvPicPr>
            <a:picLocks noChangeAspect="1"/>
          </p:cNvPicPr>
          <p:nvPr/>
        </p:nvPicPr>
        <p:blipFill>
          <a:blip r:embed="rId10"/>
          <a:stretch>
            <a:fillRect/>
          </a:stretch>
        </p:blipFill>
        <p:spPr>
          <a:xfrm rot="10800000">
            <a:off x="8972622" y="937392"/>
            <a:ext cx="597460" cy="597460"/>
          </a:xfrm>
          <a:prstGeom prst="rect">
            <a:avLst/>
          </a:prstGeom>
        </p:spPr>
      </p:pic>
      <p:pic>
        <p:nvPicPr>
          <p:cNvPr id="12" name="Picture 11"/>
          <p:cNvPicPr>
            <a:picLocks noChangeAspect="1"/>
          </p:cNvPicPr>
          <p:nvPr/>
        </p:nvPicPr>
        <p:blipFill>
          <a:blip r:embed="rId10"/>
          <a:stretch>
            <a:fillRect/>
          </a:stretch>
        </p:blipFill>
        <p:spPr>
          <a:xfrm rot="10800000">
            <a:off x="8972622" y="3367284"/>
            <a:ext cx="597460" cy="597460"/>
          </a:xfrm>
          <a:prstGeom prst="rect">
            <a:avLst/>
          </a:prstGeom>
        </p:spPr>
      </p:pic>
      <p:pic>
        <p:nvPicPr>
          <p:cNvPr id="13" name="Picture 12"/>
          <p:cNvPicPr>
            <a:picLocks noChangeAspect="1"/>
          </p:cNvPicPr>
          <p:nvPr/>
        </p:nvPicPr>
        <p:blipFill>
          <a:blip r:embed="rId10"/>
          <a:stretch>
            <a:fillRect/>
          </a:stretch>
        </p:blipFill>
        <p:spPr>
          <a:xfrm>
            <a:off x="8972622" y="2275949"/>
            <a:ext cx="597460" cy="597460"/>
          </a:xfrm>
          <a:prstGeom prst="rect">
            <a:avLst/>
          </a:prstGeom>
        </p:spPr>
      </p:pic>
      <p:pic>
        <p:nvPicPr>
          <p:cNvPr id="14" name="Picture 13"/>
          <p:cNvPicPr>
            <a:picLocks noChangeAspect="1"/>
          </p:cNvPicPr>
          <p:nvPr/>
        </p:nvPicPr>
        <p:blipFill>
          <a:blip r:embed="rId10"/>
          <a:stretch>
            <a:fillRect/>
          </a:stretch>
        </p:blipFill>
        <p:spPr>
          <a:xfrm>
            <a:off x="8972622" y="5385917"/>
            <a:ext cx="597460" cy="597460"/>
          </a:xfrm>
          <a:prstGeom prst="rect">
            <a:avLst/>
          </a:prstGeom>
        </p:spPr>
      </p:pic>
    </p:spTree>
    <p:extLst>
      <p:ext uri="{BB962C8B-B14F-4D97-AF65-F5344CB8AC3E}">
        <p14:creationId xmlns:p14="http://schemas.microsoft.com/office/powerpoint/2010/main" val="21936795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mmunication strategies with patients</a:t>
            </a:r>
          </a:p>
        </p:txBody>
      </p:sp>
      <p:graphicFrame>
        <p:nvGraphicFramePr>
          <p:cNvPr id="2" name="Diagram 1"/>
          <p:cNvGraphicFramePr/>
          <p:nvPr>
            <p:extLst>
              <p:ext uri="{D42A27DB-BD31-4B8C-83A1-F6EECF244321}">
                <p14:modId xmlns:p14="http://schemas.microsoft.com/office/powerpoint/2010/main" val="1417563184"/>
              </p:ext>
            </p:extLst>
          </p:nvPr>
        </p:nvGraphicFramePr>
        <p:xfrm>
          <a:off x="498522" y="967167"/>
          <a:ext cx="5057833" cy="51410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p:cNvPicPr>
            <a:picLocks noChangeAspect="1"/>
          </p:cNvPicPr>
          <p:nvPr/>
        </p:nvPicPr>
        <p:blipFill rotWithShape="1">
          <a:blip r:embed="rId7">
            <a:extLst>
              <a:ext uri="{28A0092B-C50C-407E-A947-70E740481C1C}">
                <a14:useLocalDpi xmlns:a14="http://schemas.microsoft.com/office/drawing/2010/main" val="0"/>
              </a:ext>
            </a:extLst>
          </a:blip>
          <a:srcRect l="3352" t="6556" r="1727" b="9233"/>
          <a:stretch/>
        </p:blipFill>
        <p:spPr>
          <a:xfrm>
            <a:off x="5899636" y="967167"/>
            <a:ext cx="6102781" cy="5048885"/>
          </a:xfrm>
          <a:prstGeom prst="rect">
            <a:avLst/>
          </a:prstGeom>
        </p:spPr>
      </p:pic>
    </p:spTree>
    <p:extLst>
      <p:ext uri="{BB962C8B-B14F-4D97-AF65-F5344CB8AC3E}">
        <p14:creationId xmlns:p14="http://schemas.microsoft.com/office/powerpoint/2010/main" val="40012367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US" sz="2800" dirty="0">
                <a:latin typeface="+mn-lt"/>
              </a:rPr>
              <a:t>Communication strategies with patients (continued)</a:t>
            </a:r>
          </a:p>
        </p:txBody>
      </p:sp>
      <p:graphicFrame>
        <p:nvGraphicFramePr>
          <p:cNvPr id="5" name="Diagram 4"/>
          <p:cNvGraphicFramePr/>
          <p:nvPr>
            <p:extLst>
              <p:ext uri="{D42A27DB-BD31-4B8C-83A1-F6EECF244321}">
                <p14:modId xmlns:p14="http://schemas.microsoft.com/office/powerpoint/2010/main" val="3880858610"/>
              </p:ext>
            </p:extLst>
          </p:nvPr>
        </p:nvGraphicFramePr>
        <p:xfrm>
          <a:off x="504669" y="967167"/>
          <a:ext cx="5315712" cy="51410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80013" y="1267197"/>
            <a:ext cx="5578517" cy="3944789"/>
          </a:xfrm>
          <a:prstGeom prst="rect">
            <a:avLst/>
          </a:prstGeom>
        </p:spPr>
      </p:pic>
    </p:spTree>
    <p:extLst>
      <p:ext uri="{BB962C8B-B14F-4D97-AF65-F5344CB8AC3E}">
        <p14:creationId xmlns:p14="http://schemas.microsoft.com/office/powerpoint/2010/main" val="29682681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Risk strategies for surgical teams</a:t>
            </a:r>
          </a:p>
        </p:txBody>
      </p:sp>
      <p:sp>
        <p:nvSpPr>
          <p:cNvPr id="2" name="Text Placeholder 1"/>
          <p:cNvSpPr>
            <a:spLocks noGrp="1"/>
          </p:cNvSpPr>
          <p:nvPr>
            <p:ph type="body" sz="quarter" idx="14"/>
          </p:nvPr>
        </p:nvSpPr>
        <p:spPr/>
        <p:txBody>
          <a:bodyPr/>
          <a:lstStyle/>
          <a:p>
            <a:r>
              <a:rPr lang="en-US" dirty="0"/>
              <a:t>Candello Solutions by CRICO. (2022, March 1). </a:t>
            </a:r>
            <a:r>
              <a:rPr lang="en-US" i="1" dirty="0"/>
              <a:t>Known complications of surgery. </a:t>
            </a:r>
            <a:r>
              <a:rPr lang="en-US" dirty="0"/>
              <a:t>Retrieved from </a:t>
            </a:r>
            <a:r>
              <a:rPr lang="en-US" dirty="0">
                <a:hlinkClick r:id="rId3"/>
              </a:rPr>
              <a:t>https://cbscommunity.rmfstrategies.com/content_items/known-complications-of-surgery</a:t>
            </a:r>
            <a:r>
              <a:rPr lang="en-US" dirty="0"/>
              <a:t> </a:t>
            </a:r>
          </a:p>
        </p:txBody>
      </p:sp>
      <p:grpSp>
        <p:nvGrpSpPr>
          <p:cNvPr id="3" name="Group 2"/>
          <p:cNvGrpSpPr/>
          <p:nvPr/>
        </p:nvGrpSpPr>
        <p:grpSpPr>
          <a:xfrm>
            <a:off x="414730" y="851049"/>
            <a:ext cx="7424345" cy="5086501"/>
            <a:chOff x="414730" y="851049"/>
            <a:chExt cx="7424345" cy="5086501"/>
          </a:xfrm>
        </p:grpSpPr>
        <p:sp>
          <p:nvSpPr>
            <p:cNvPr id="10" name="Freeform 9"/>
            <p:cNvSpPr/>
            <p:nvPr/>
          </p:nvSpPr>
          <p:spPr>
            <a:xfrm>
              <a:off x="414731" y="851049"/>
              <a:ext cx="7424344" cy="731520"/>
            </a:xfrm>
            <a:custGeom>
              <a:avLst/>
              <a:gdLst>
                <a:gd name="connsiteX0" fmla="*/ 0 w 7424344"/>
                <a:gd name="connsiteY0" fmla="*/ 157562 h 945354"/>
                <a:gd name="connsiteX1" fmla="*/ 157562 w 7424344"/>
                <a:gd name="connsiteY1" fmla="*/ 0 h 945354"/>
                <a:gd name="connsiteX2" fmla="*/ 7266782 w 7424344"/>
                <a:gd name="connsiteY2" fmla="*/ 0 h 945354"/>
                <a:gd name="connsiteX3" fmla="*/ 7424344 w 7424344"/>
                <a:gd name="connsiteY3" fmla="*/ 157562 h 945354"/>
                <a:gd name="connsiteX4" fmla="*/ 7424344 w 7424344"/>
                <a:gd name="connsiteY4" fmla="*/ 787792 h 945354"/>
                <a:gd name="connsiteX5" fmla="*/ 7266782 w 7424344"/>
                <a:gd name="connsiteY5" fmla="*/ 945354 h 945354"/>
                <a:gd name="connsiteX6" fmla="*/ 157562 w 7424344"/>
                <a:gd name="connsiteY6" fmla="*/ 945354 h 945354"/>
                <a:gd name="connsiteX7" fmla="*/ 0 w 7424344"/>
                <a:gd name="connsiteY7" fmla="*/ 787792 h 945354"/>
                <a:gd name="connsiteX8" fmla="*/ 0 w 7424344"/>
                <a:gd name="connsiteY8" fmla="*/ 157562 h 94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24344" h="945354">
                  <a:moveTo>
                    <a:pt x="0" y="157562"/>
                  </a:moveTo>
                  <a:cubicBezTo>
                    <a:pt x="0" y="70543"/>
                    <a:pt x="70543" y="0"/>
                    <a:pt x="157562" y="0"/>
                  </a:cubicBezTo>
                  <a:lnTo>
                    <a:pt x="7266782" y="0"/>
                  </a:lnTo>
                  <a:cubicBezTo>
                    <a:pt x="7353801" y="0"/>
                    <a:pt x="7424344" y="70543"/>
                    <a:pt x="7424344" y="157562"/>
                  </a:cubicBezTo>
                  <a:lnTo>
                    <a:pt x="7424344" y="787792"/>
                  </a:lnTo>
                  <a:cubicBezTo>
                    <a:pt x="7424344" y="874811"/>
                    <a:pt x="7353801" y="945354"/>
                    <a:pt x="7266782" y="945354"/>
                  </a:cubicBezTo>
                  <a:lnTo>
                    <a:pt x="157562" y="945354"/>
                  </a:lnTo>
                  <a:cubicBezTo>
                    <a:pt x="70543" y="945354"/>
                    <a:pt x="0" y="874811"/>
                    <a:pt x="0" y="787792"/>
                  </a:cubicBezTo>
                  <a:lnTo>
                    <a:pt x="0" y="15756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7108" tIns="107108" rIns="107108" bIns="107108" numCol="1" spcCol="1270" anchor="ctr" anchorCtr="0">
              <a:noAutofit/>
            </a:bodyPr>
            <a:lstStyle/>
            <a:p>
              <a:pPr lvl="0" algn="l" defTabSz="711200">
                <a:lnSpc>
                  <a:spcPct val="90000"/>
                </a:lnSpc>
                <a:spcBef>
                  <a:spcPct val="0"/>
                </a:spcBef>
                <a:spcAft>
                  <a:spcPct val="35000"/>
                </a:spcAft>
              </a:pPr>
              <a:r>
                <a:rPr lang="en-US" sz="1600" b="1" kern="1200" dirty="0"/>
                <a:t>Communication</a:t>
              </a:r>
            </a:p>
          </p:txBody>
        </p:sp>
        <p:sp>
          <p:nvSpPr>
            <p:cNvPr id="11" name="Freeform 10"/>
            <p:cNvSpPr/>
            <p:nvPr/>
          </p:nvSpPr>
          <p:spPr>
            <a:xfrm>
              <a:off x="414731" y="1643464"/>
              <a:ext cx="7424344" cy="2376360"/>
            </a:xfrm>
            <a:custGeom>
              <a:avLst/>
              <a:gdLst>
                <a:gd name="connsiteX0" fmla="*/ 0 w 7424344"/>
                <a:gd name="connsiteY0" fmla="*/ 0 h 2376360"/>
                <a:gd name="connsiteX1" fmla="*/ 7424344 w 7424344"/>
                <a:gd name="connsiteY1" fmla="*/ 0 h 2376360"/>
                <a:gd name="connsiteX2" fmla="*/ 7424344 w 7424344"/>
                <a:gd name="connsiteY2" fmla="*/ 2376360 h 2376360"/>
                <a:gd name="connsiteX3" fmla="*/ 0 w 7424344"/>
                <a:gd name="connsiteY3" fmla="*/ 2376360 h 2376360"/>
                <a:gd name="connsiteX4" fmla="*/ 0 w 7424344"/>
                <a:gd name="connsiteY4" fmla="*/ 0 h 2376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4344" h="2376360">
                  <a:moveTo>
                    <a:pt x="0" y="0"/>
                  </a:moveTo>
                  <a:lnTo>
                    <a:pt x="7424344" y="0"/>
                  </a:lnTo>
                  <a:lnTo>
                    <a:pt x="7424344" y="2376360"/>
                  </a:lnTo>
                  <a:lnTo>
                    <a:pt x="0" y="237636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35723" tIns="20320" rIns="113792" bIns="20320" numCol="1" spcCol="1270" anchor="t" anchorCtr="0">
              <a:noAutofit/>
            </a:bodyPr>
            <a:lstStyle/>
            <a:p>
              <a:pPr marL="171450" lvl="1" indent="-171450" algn="l" defTabSz="711200">
                <a:lnSpc>
                  <a:spcPct val="100000"/>
                </a:lnSpc>
                <a:spcBef>
                  <a:spcPct val="0"/>
                </a:spcBef>
                <a:spcAft>
                  <a:spcPts val="1200"/>
                </a:spcAft>
                <a:buChar char="••"/>
              </a:pPr>
              <a:r>
                <a:rPr lang="en-US" sz="1600" kern="1200" dirty="0">
                  <a:solidFill>
                    <a:schemeClr val="accent1"/>
                  </a:solidFill>
                </a:rPr>
                <a:t>Clearly describe possible known complications of the surgery to the patient/family, including symptoms to watch out for during recovery.</a:t>
              </a:r>
            </a:p>
            <a:p>
              <a:pPr marL="171450" lvl="1" indent="-171450" algn="l" defTabSz="711200">
                <a:lnSpc>
                  <a:spcPct val="100000"/>
                </a:lnSpc>
                <a:spcBef>
                  <a:spcPct val="0"/>
                </a:spcBef>
                <a:spcAft>
                  <a:spcPts val="1200"/>
                </a:spcAft>
                <a:buChar char="••"/>
              </a:pPr>
              <a:r>
                <a:rPr lang="en-US" sz="1600" kern="1200" dirty="0">
                  <a:solidFill>
                    <a:schemeClr val="accent1"/>
                  </a:solidFill>
                </a:rPr>
                <a:t>Discuss and document any proposed changes with the patient/family before a planned surgery, and explain unexpected outcomes or findings afterward.</a:t>
              </a:r>
            </a:p>
            <a:p>
              <a:pPr marL="171450" lvl="1" indent="-171450" algn="l" defTabSz="711200">
                <a:lnSpc>
                  <a:spcPct val="100000"/>
                </a:lnSpc>
                <a:spcBef>
                  <a:spcPct val="0"/>
                </a:spcBef>
                <a:spcAft>
                  <a:spcPts val="1200"/>
                </a:spcAft>
                <a:buChar char="••"/>
              </a:pPr>
              <a:r>
                <a:rPr lang="en-US" sz="1600" kern="1200" dirty="0">
                  <a:solidFill>
                    <a:schemeClr val="accent1"/>
                  </a:solidFill>
                </a:rPr>
                <a:t>Verify patient/family understanding of written</a:t>
              </a:r>
              <a:r>
                <a:rPr lang="en-US" sz="1600" b="1" kern="1200" dirty="0">
                  <a:solidFill>
                    <a:schemeClr val="accent1"/>
                  </a:solidFill>
                </a:rPr>
                <a:t> </a:t>
              </a:r>
              <a:r>
                <a:rPr lang="en-US" sz="1600" kern="1200" dirty="0">
                  <a:solidFill>
                    <a:schemeClr val="accent1"/>
                  </a:solidFill>
                </a:rPr>
                <a:t>postoperative instructions, pain control, symptoms to monitor, bandage changes, use of supportive devices like crutches, and 24/7 contact information.</a:t>
              </a:r>
            </a:p>
            <a:p>
              <a:pPr marL="171450" lvl="1" indent="-171450" algn="l" defTabSz="711200">
                <a:lnSpc>
                  <a:spcPct val="100000"/>
                </a:lnSpc>
                <a:spcBef>
                  <a:spcPct val="0"/>
                </a:spcBef>
                <a:spcAft>
                  <a:spcPts val="1200"/>
                </a:spcAft>
                <a:buChar char="••"/>
              </a:pPr>
              <a:r>
                <a:rPr lang="en-US" sz="1600" kern="1200" dirty="0">
                  <a:solidFill>
                    <a:schemeClr val="accent1"/>
                  </a:solidFill>
                </a:rPr>
                <a:t>Arrange close postoperative</a:t>
              </a:r>
              <a:r>
                <a:rPr lang="en-US" sz="1600" b="1" kern="1200" dirty="0">
                  <a:solidFill>
                    <a:schemeClr val="accent1"/>
                  </a:solidFill>
                </a:rPr>
                <a:t> </a:t>
              </a:r>
              <a:r>
                <a:rPr lang="en-US" sz="1600" kern="1200" dirty="0">
                  <a:solidFill>
                    <a:schemeClr val="accent1"/>
                  </a:solidFill>
                </a:rPr>
                <a:t>follow-up, and investigate atypical symptoms.</a:t>
              </a:r>
            </a:p>
          </p:txBody>
        </p:sp>
        <p:sp>
          <p:nvSpPr>
            <p:cNvPr id="12" name="Freeform 11"/>
            <p:cNvSpPr/>
            <p:nvPr/>
          </p:nvSpPr>
          <p:spPr>
            <a:xfrm>
              <a:off x="414730" y="4156335"/>
              <a:ext cx="7424344" cy="731520"/>
            </a:xfrm>
            <a:custGeom>
              <a:avLst/>
              <a:gdLst>
                <a:gd name="connsiteX0" fmla="*/ 0 w 7424344"/>
                <a:gd name="connsiteY0" fmla="*/ 174723 h 1048320"/>
                <a:gd name="connsiteX1" fmla="*/ 174723 w 7424344"/>
                <a:gd name="connsiteY1" fmla="*/ 0 h 1048320"/>
                <a:gd name="connsiteX2" fmla="*/ 7249621 w 7424344"/>
                <a:gd name="connsiteY2" fmla="*/ 0 h 1048320"/>
                <a:gd name="connsiteX3" fmla="*/ 7424344 w 7424344"/>
                <a:gd name="connsiteY3" fmla="*/ 174723 h 1048320"/>
                <a:gd name="connsiteX4" fmla="*/ 7424344 w 7424344"/>
                <a:gd name="connsiteY4" fmla="*/ 873597 h 1048320"/>
                <a:gd name="connsiteX5" fmla="*/ 7249621 w 7424344"/>
                <a:gd name="connsiteY5" fmla="*/ 1048320 h 1048320"/>
                <a:gd name="connsiteX6" fmla="*/ 174723 w 7424344"/>
                <a:gd name="connsiteY6" fmla="*/ 1048320 h 1048320"/>
                <a:gd name="connsiteX7" fmla="*/ 0 w 7424344"/>
                <a:gd name="connsiteY7" fmla="*/ 873597 h 1048320"/>
                <a:gd name="connsiteX8" fmla="*/ 0 w 7424344"/>
                <a:gd name="connsiteY8" fmla="*/ 174723 h 104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24344" h="1048320">
                  <a:moveTo>
                    <a:pt x="0" y="174723"/>
                  </a:moveTo>
                  <a:cubicBezTo>
                    <a:pt x="0" y="78226"/>
                    <a:pt x="78226" y="0"/>
                    <a:pt x="174723" y="0"/>
                  </a:cubicBezTo>
                  <a:lnTo>
                    <a:pt x="7249621" y="0"/>
                  </a:lnTo>
                  <a:cubicBezTo>
                    <a:pt x="7346118" y="0"/>
                    <a:pt x="7424344" y="78226"/>
                    <a:pt x="7424344" y="174723"/>
                  </a:cubicBezTo>
                  <a:lnTo>
                    <a:pt x="7424344" y="873597"/>
                  </a:lnTo>
                  <a:cubicBezTo>
                    <a:pt x="7424344" y="970094"/>
                    <a:pt x="7346118" y="1048320"/>
                    <a:pt x="7249621" y="1048320"/>
                  </a:cubicBezTo>
                  <a:lnTo>
                    <a:pt x="174723" y="1048320"/>
                  </a:lnTo>
                  <a:cubicBezTo>
                    <a:pt x="78226" y="1048320"/>
                    <a:pt x="0" y="970094"/>
                    <a:pt x="0" y="873597"/>
                  </a:cubicBezTo>
                  <a:lnTo>
                    <a:pt x="0" y="174723"/>
                  </a:lnTo>
                  <a:close/>
                </a:path>
              </a:pathLst>
            </a:custGeom>
          </p:spPr>
          <p:style>
            <a:lnRef idx="2">
              <a:schemeClr val="lt1">
                <a:hueOff val="0"/>
                <a:satOff val="0"/>
                <a:lumOff val="0"/>
                <a:alphaOff val="0"/>
              </a:schemeClr>
            </a:lnRef>
            <a:fillRef idx="1">
              <a:schemeClr val="accent2">
                <a:hueOff val="49418"/>
                <a:satOff val="63158"/>
                <a:lumOff val="7059"/>
                <a:alphaOff val="0"/>
              </a:schemeClr>
            </a:fillRef>
            <a:effectRef idx="0">
              <a:schemeClr val="accent2">
                <a:hueOff val="49418"/>
                <a:satOff val="63158"/>
                <a:lumOff val="7059"/>
                <a:alphaOff val="0"/>
              </a:schemeClr>
            </a:effectRef>
            <a:fontRef idx="minor">
              <a:schemeClr val="lt1"/>
            </a:fontRef>
          </p:style>
          <p:txBody>
            <a:bodyPr spcFirstLastPara="0" vert="horz" wrap="square" lIns="112135" tIns="112135" rIns="112135" bIns="112135" numCol="1" spcCol="1270" anchor="ctr" anchorCtr="0">
              <a:noAutofit/>
            </a:bodyPr>
            <a:lstStyle/>
            <a:p>
              <a:pPr lvl="0" algn="l" defTabSz="711200">
                <a:lnSpc>
                  <a:spcPct val="100000"/>
                </a:lnSpc>
                <a:spcBef>
                  <a:spcPct val="0"/>
                </a:spcBef>
                <a:spcAft>
                  <a:spcPts val="1200"/>
                </a:spcAft>
              </a:pPr>
              <a:r>
                <a:rPr lang="en-US" sz="1600" b="1" kern="1200" dirty="0"/>
                <a:t>Informed consent</a:t>
              </a:r>
              <a:endParaRPr lang="en-US" sz="1600" kern="1200" dirty="0"/>
            </a:p>
          </p:txBody>
        </p:sp>
        <p:sp>
          <p:nvSpPr>
            <p:cNvPr id="13" name="Freeform 12"/>
            <p:cNvSpPr/>
            <p:nvPr/>
          </p:nvSpPr>
          <p:spPr>
            <a:xfrm>
              <a:off x="414730" y="4952230"/>
              <a:ext cx="7424344" cy="985320"/>
            </a:xfrm>
            <a:custGeom>
              <a:avLst/>
              <a:gdLst>
                <a:gd name="connsiteX0" fmla="*/ 0 w 7424344"/>
                <a:gd name="connsiteY0" fmla="*/ 0 h 985320"/>
                <a:gd name="connsiteX1" fmla="*/ 7424344 w 7424344"/>
                <a:gd name="connsiteY1" fmla="*/ 0 h 985320"/>
                <a:gd name="connsiteX2" fmla="*/ 7424344 w 7424344"/>
                <a:gd name="connsiteY2" fmla="*/ 985320 h 985320"/>
                <a:gd name="connsiteX3" fmla="*/ 0 w 7424344"/>
                <a:gd name="connsiteY3" fmla="*/ 985320 h 985320"/>
                <a:gd name="connsiteX4" fmla="*/ 0 w 7424344"/>
                <a:gd name="connsiteY4" fmla="*/ 0 h 985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4344" h="985320">
                  <a:moveTo>
                    <a:pt x="0" y="0"/>
                  </a:moveTo>
                  <a:lnTo>
                    <a:pt x="7424344" y="0"/>
                  </a:lnTo>
                  <a:lnTo>
                    <a:pt x="7424344" y="985320"/>
                  </a:lnTo>
                  <a:lnTo>
                    <a:pt x="0" y="9853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35723" tIns="20320" rIns="113792" bIns="20320" numCol="1" spcCol="1270" anchor="t" anchorCtr="0">
              <a:noAutofit/>
            </a:bodyPr>
            <a:lstStyle/>
            <a:p>
              <a:pPr marL="171450" lvl="1" indent="-171450" algn="l" defTabSz="711200">
                <a:lnSpc>
                  <a:spcPct val="100000"/>
                </a:lnSpc>
                <a:spcBef>
                  <a:spcPct val="0"/>
                </a:spcBef>
                <a:spcAft>
                  <a:spcPts val="1200"/>
                </a:spcAft>
                <a:buChar char="••"/>
              </a:pPr>
              <a:r>
                <a:rPr lang="en-US" sz="1600" kern="1200" dirty="0">
                  <a:solidFill>
                    <a:schemeClr val="accent1"/>
                  </a:solidFill>
                </a:rPr>
                <a:t>Explain and document the relevant risks (i.e., known complications), benefits, probability of success, and risk of not undergoing the procedure. </a:t>
              </a:r>
            </a:p>
            <a:p>
              <a:pPr marL="171450" lvl="1" indent="-171450" algn="l" defTabSz="711200">
                <a:lnSpc>
                  <a:spcPct val="100000"/>
                </a:lnSpc>
                <a:spcBef>
                  <a:spcPct val="0"/>
                </a:spcBef>
                <a:spcAft>
                  <a:spcPts val="600"/>
                </a:spcAft>
                <a:buChar char="••"/>
              </a:pPr>
              <a:r>
                <a:rPr lang="en-US" sz="1600" kern="1200" dirty="0">
                  <a:solidFill>
                    <a:schemeClr val="accent1"/>
                  </a:solidFill>
                </a:rPr>
                <a:t>Amend boilerplate documentation to include patient-specific and procedure-specific information in layman’s terms.</a:t>
              </a:r>
            </a:p>
          </p:txBody>
        </p:sp>
      </p:grpSp>
      <p:graphicFrame>
        <p:nvGraphicFramePr>
          <p:cNvPr id="5" name="Table 4"/>
          <p:cNvGraphicFramePr>
            <a:graphicFrameLocks noGrp="1"/>
          </p:cNvGraphicFramePr>
          <p:nvPr>
            <p:extLst>
              <p:ext uri="{D42A27DB-BD31-4B8C-83A1-F6EECF244321}">
                <p14:modId xmlns:p14="http://schemas.microsoft.com/office/powerpoint/2010/main" val="2369144008"/>
              </p:ext>
            </p:extLst>
          </p:nvPr>
        </p:nvGraphicFramePr>
        <p:xfrm>
          <a:off x="8248650" y="2873148"/>
          <a:ext cx="3381375" cy="2143125"/>
        </p:xfrm>
        <a:graphic>
          <a:graphicData uri="http://schemas.openxmlformats.org/drawingml/2006/table">
            <a:tbl>
              <a:tblPr firstRow="1" bandRow="1">
                <a:tableStyleId>{3B4B98B0-60AC-42C2-AFA5-B58CD77FA1E5}</a:tableStyleId>
              </a:tblPr>
              <a:tblGrid>
                <a:gridCol w="3381375">
                  <a:extLst>
                    <a:ext uri="{9D8B030D-6E8A-4147-A177-3AD203B41FA5}">
                      <a16:colId xmlns:a16="http://schemas.microsoft.com/office/drawing/2014/main" val="174491403"/>
                    </a:ext>
                  </a:extLst>
                </a:gridCol>
              </a:tblGrid>
              <a:tr h="2143125">
                <a:tc>
                  <a:txBody>
                    <a:bodyPr/>
                    <a:lstStyle/>
                    <a:p>
                      <a:pPr algn="ctr"/>
                      <a:r>
                        <a:rPr lang="en-US" sz="1800" b="0" dirty="0">
                          <a:solidFill>
                            <a:schemeClr val="accent1"/>
                          </a:solidFill>
                        </a:rPr>
                        <a:t>“The importance of clear, two-way communication about possible risks and complications, before and after surgery, cannot be overstated.”</a:t>
                      </a:r>
                    </a:p>
                  </a:txBody>
                  <a:tcPr anchor="ctr"/>
                </a:tc>
                <a:extLst>
                  <a:ext uri="{0D108BD9-81ED-4DB2-BD59-A6C34878D82A}">
                    <a16:rowId xmlns:a16="http://schemas.microsoft.com/office/drawing/2014/main" val="1999259237"/>
                  </a:ext>
                </a:extLst>
              </a:tr>
            </a:tbl>
          </a:graphicData>
        </a:graphic>
      </p:graphicFrame>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31462" y="4811039"/>
            <a:ext cx="618934" cy="626671"/>
          </a:xfrm>
          <a:prstGeom prst="rect">
            <a:avLst/>
          </a:prstGeom>
        </p:spPr>
      </p:pic>
      <p:pic>
        <p:nvPicPr>
          <p:cNvPr id="7" name="Picture 6"/>
          <p:cNvPicPr>
            <a:picLocks noChangeAspect="1"/>
          </p:cNvPicPr>
          <p:nvPr/>
        </p:nvPicPr>
        <p:blipFill>
          <a:blip r:embed="rId5"/>
          <a:stretch>
            <a:fillRect/>
          </a:stretch>
        </p:blipFill>
        <p:spPr>
          <a:xfrm rot="10800000">
            <a:off x="9631462" y="2520722"/>
            <a:ext cx="615749" cy="621846"/>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l="46427" t="24722" r="44047" b="62500"/>
          <a:stretch/>
        </p:blipFill>
        <p:spPr>
          <a:xfrm>
            <a:off x="9111203" y="809202"/>
            <a:ext cx="1656266" cy="1587254"/>
          </a:xfrm>
          <a:prstGeom prst="rect">
            <a:avLst/>
          </a:prstGeom>
        </p:spPr>
      </p:pic>
    </p:spTree>
    <p:extLst>
      <p:ext uri="{BB962C8B-B14F-4D97-AF65-F5344CB8AC3E}">
        <p14:creationId xmlns:p14="http://schemas.microsoft.com/office/powerpoint/2010/main" val="18106089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strategies for surgical teams</a:t>
            </a:r>
          </a:p>
        </p:txBody>
      </p:sp>
      <p:sp>
        <p:nvSpPr>
          <p:cNvPr id="3" name="Slide Number Placeholder 2"/>
          <p:cNvSpPr>
            <a:spLocks noGrp="1"/>
          </p:cNvSpPr>
          <p:nvPr>
            <p:ph type="sldNum" sz="quarter" idx="12"/>
          </p:nvPr>
        </p:nvSpPr>
        <p:spPr/>
        <p:txBody>
          <a:bodyPr/>
          <a:lstStyle/>
          <a:p>
            <a:fld id="{DA135043-C596-1A48-8BDA-03EB29A64DF4}" type="slidenum">
              <a:rPr lang="en-US" smtClean="0"/>
              <a:t>37</a:t>
            </a:fld>
            <a:endParaRPr lang="en-US" dirty="0"/>
          </a:p>
        </p:txBody>
      </p:sp>
      <p:sp>
        <p:nvSpPr>
          <p:cNvPr id="5" name="Text Placeholder 4"/>
          <p:cNvSpPr>
            <a:spLocks noGrp="1"/>
          </p:cNvSpPr>
          <p:nvPr>
            <p:ph type="body" sz="quarter" idx="14"/>
          </p:nvPr>
        </p:nvSpPr>
        <p:spPr/>
        <p:txBody>
          <a:bodyPr/>
          <a:lstStyle/>
          <a:p>
            <a:r>
              <a:rPr lang="en-US" dirty="0"/>
              <a:t>Candello Solutions by CRICO. (2022, March 1). </a:t>
            </a:r>
            <a:r>
              <a:rPr lang="en-US" i="1" dirty="0"/>
              <a:t>Known complications of surgery. </a:t>
            </a:r>
            <a:r>
              <a:rPr lang="en-US" dirty="0"/>
              <a:t>Retrieved from </a:t>
            </a:r>
            <a:r>
              <a:rPr lang="en-US" dirty="0">
                <a:hlinkClick r:id="rId3"/>
              </a:rPr>
              <a:t>https://cbscommunity.rmfstrategies.com/content_items/known-complications-of-surgery</a:t>
            </a:r>
            <a:r>
              <a:rPr lang="en-US" dirty="0"/>
              <a:t> </a:t>
            </a:r>
          </a:p>
        </p:txBody>
      </p:sp>
      <p:grpSp>
        <p:nvGrpSpPr>
          <p:cNvPr id="8" name="Group 7"/>
          <p:cNvGrpSpPr/>
          <p:nvPr/>
        </p:nvGrpSpPr>
        <p:grpSpPr>
          <a:xfrm>
            <a:off x="518795" y="1454261"/>
            <a:ext cx="10954068" cy="3648912"/>
            <a:chOff x="498475" y="783701"/>
            <a:chExt cx="7807325" cy="3648912"/>
          </a:xfrm>
        </p:grpSpPr>
        <p:sp>
          <p:nvSpPr>
            <p:cNvPr id="9" name="Freeform 8"/>
            <p:cNvSpPr/>
            <p:nvPr/>
          </p:nvSpPr>
          <p:spPr>
            <a:xfrm>
              <a:off x="498475" y="783701"/>
              <a:ext cx="7807325" cy="731520"/>
            </a:xfrm>
            <a:custGeom>
              <a:avLst/>
              <a:gdLst>
                <a:gd name="connsiteX0" fmla="*/ 0 w 7807325"/>
                <a:gd name="connsiteY0" fmla="*/ 155392 h 932331"/>
                <a:gd name="connsiteX1" fmla="*/ 155392 w 7807325"/>
                <a:gd name="connsiteY1" fmla="*/ 0 h 932331"/>
                <a:gd name="connsiteX2" fmla="*/ 7651933 w 7807325"/>
                <a:gd name="connsiteY2" fmla="*/ 0 h 932331"/>
                <a:gd name="connsiteX3" fmla="*/ 7807325 w 7807325"/>
                <a:gd name="connsiteY3" fmla="*/ 155392 h 932331"/>
                <a:gd name="connsiteX4" fmla="*/ 7807325 w 7807325"/>
                <a:gd name="connsiteY4" fmla="*/ 776939 h 932331"/>
                <a:gd name="connsiteX5" fmla="*/ 7651933 w 7807325"/>
                <a:gd name="connsiteY5" fmla="*/ 932331 h 932331"/>
                <a:gd name="connsiteX6" fmla="*/ 155392 w 7807325"/>
                <a:gd name="connsiteY6" fmla="*/ 932331 h 932331"/>
                <a:gd name="connsiteX7" fmla="*/ 0 w 7807325"/>
                <a:gd name="connsiteY7" fmla="*/ 776939 h 932331"/>
                <a:gd name="connsiteX8" fmla="*/ 0 w 7807325"/>
                <a:gd name="connsiteY8" fmla="*/ 155392 h 932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7325" h="932331">
                  <a:moveTo>
                    <a:pt x="0" y="155392"/>
                  </a:moveTo>
                  <a:cubicBezTo>
                    <a:pt x="0" y="69571"/>
                    <a:pt x="69571" y="0"/>
                    <a:pt x="155392" y="0"/>
                  </a:cubicBezTo>
                  <a:lnTo>
                    <a:pt x="7651933" y="0"/>
                  </a:lnTo>
                  <a:cubicBezTo>
                    <a:pt x="7737754" y="0"/>
                    <a:pt x="7807325" y="69571"/>
                    <a:pt x="7807325" y="155392"/>
                  </a:cubicBezTo>
                  <a:lnTo>
                    <a:pt x="7807325" y="776939"/>
                  </a:lnTo>
                  <a:cubicBezTo>
                    <a:pt x="7807325" y="862760"/>
                    <a:pt x="7737754" y="932331"/>
                    <a:pt x="7651933" y="932331"/>
                  </a:cubicBezTo>
                  <a:lnTo>
                    <a:pt x="155392" y="932331"/>
                  </a:lnTo>
                  <a:cubicBezTo>
                    <a:pt x="69571" y="932331"/>
                    <a:pt x="0" y="862760"/>
                    <a:pt x="0" y="776939"/>
                  </a:cubicBezTo>
                  <a:lnTo>
                    <a:pt x="0" y="15539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6473" tIns="106473" rIns="106473" bIns="106473" numCol="1" spcCol="1270" anchor="ctr" anchorCtr="0">
              <a:noAutofit/>
            </a:bodyPr>
            <a:lstStyle/>
            <a:p>
              <a:pPr lvl="0" algn="l" defTabSz="711200">
                <a:lnSpc>
                  <a:spcPct val="90000"/>
                </a:lnSpc>
                <a:spcBef>
                  <a:spcPct val="0"/>
                </a:spcBef>
                <a:spcAft>
                  <a:spcPct val="35000"/>
                </a:spcAft>
              </a:pPr>
              <a:r>
                <a:rPr lang="en-US" sz="1600" b="1" kern="1200" dirty="0"/>
                <a:t>Surgery management</a:t>
              </a:r>
            </a:p>
          </p:txBody>
        </p:sp>
        <p:sp>
          <p:nvSpPr>
            <p:cNvPr id="10" name="Freeform 9"/>
            <p:cNvSpPr/>
            <p:nvPr/>
          </p:nvSpPr>
          <p:spPr>
            <a:xfrm>
              <a:off x="498475" y="1580154"/>
              <a:ext cx="7807325" cy="2852459"/>
            </a:xfrm>
            <a:custGeom>
              <a:avLst/>
              <a:gdLst>
                <a:gd name="connsiteX0" fmla="*/ 0 w 7807325"/>
                <a:gd name="connsiteY0" fmla="*/ 0 h 2852459"/>
                <a:gd name="connsiteX1" fmla="*/ 7807325 w 7807325"/>
                <a:gd name="connsiteY1" fmla="*/ 0 h 2852459"/>
                <a:gd name="connsiteX2" fmla="*/ 7807325 w 7807325"/>
                <a:gd name="connsiteY2" fmla="*/ 2852459 h 2852459"/>
                <a:gd name="connsiteX3" fmla="*/ 0 w 7807325"/>
                <a:gd name="connsiteY3" fmla="*/ 2852459 h 2852459"/>
                <a:gd name="connsiteX4" fmla="*/ 0 w 7807325"/>
                <a:gd name="connsiteY4" fmla="*/ 0 h 2852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325" h="2852459">
                  <a:moveTo>
                    <a:pt x="0" y="0"/>
                  </a:moveTo>
                  <a:lnTo>
                    <a:pt x="7807325" y="0"/>
                  </a:lnTo>
                  <a:lnTo>
                    <a:pt x="7807325" y="2852459"/>
                  </a:lnTo>
                  <a:lnTo>
                    <a:pt x="0" y="28524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7883" tIns="20320" rIns="113792" bIns="20320" numCol="1" spcCol="1270" anchor="t" anchorCtr="0">
              <a:noAutofit/>
            </a:bodyPr>
            <a:lstStyle/>
            <a:p>
              <a:pPr marL="171450" lvl="1" indent="-171450" algn="l" defTabSz="711200">
                <a:lnSpc>
                  <a:spcPct val="100000"/>
                </a:lnSpc>
                <a:spcBef>
                  <a:spcPct val="0"/>
                </a:spcBef>
                <a:spcAft>
                  <a:spcPts val="600"/>
                </a:spcAft>
                <a:buChar char="••"/>
              </a:pPr>
              <a:r>
                <a:rPr lang="en-US" sz="1600" kern="1200" dirty="0">
                  <a:solidFill>
                    <a:schemeClr val="accent1"/>
                  </a:solidFill>
                </a:rPr>
                <a:t>Establish guidelines for providers to understand their patients’ medical histories as completely as possible, including reviewing the medical record and consulting about rare conditions.</a:t>
              </a:r>
            </a:p>
            <a:p>
              <a:pPr marL="171450" lvl="1" indent="-171450" algn="l" defTabSz="711200">
                <a:lnSpc>
                  <a:spcPct val="100000"/>
                </a:lnSpc>
                <a:spcBef>
                  <a:spcPct val="0"/>
                </a:spcBef>
                <a:spcAft>
                  <a:spcPts val="600"/>
                </a:spcAft>
                <a:buChar char="••"/>
              </a:pPr>
              <a:r>
                <a:rPr lang="en-US" sz="1600" kern="1200" dirty="0">
                  <a:solidFill>
                    <a:schemeClr val="accent1"/>
                  </a:solidFill>
                </a:rPr>
                <a:t>Ensure that surgical teams take a safety pause to confirm the patient, procedure, and anatomical site and laterality before the procedure begins. Also confirm that the planned procedure is the one to which the patient consented.</a:t>
              </a:r>
            </a:p>
            <a:p>
              <a:pPr marL="171450" lvl="1" indent="-171450" algn="l" defTabSz="711200">
                <a:lnSpc>
                  <a:spcPct val="100000"/>
                </a:lnSpc>
                <a:spcBef>
                  <a:spcPct val="0"/>
                </a:spcBef>
                <a:spcAft>
                  <a:spcPts val="600"/>
                </a:spcAft>
                <a:buChar char="••"/>
              </a:pPr>
              <a:r>
                <a:rPr lang="en-US" sz="1600" kern="1200" dirty="0">
                  <a:solidFill>
                    <a:schemeClr val="accent1"/>
                  </a:solidFill>
                </a:rPr>
                <a:t>Use a standardized preoperative checklist to identify patients with potential risk factors for surgical complications (e.g., the </a:t>
              </a:r>
              <a:r>
                <a:rPr lang="en-US" sz="1600" kern="1200" dirty="0">
                  <a:solidFill>
                    <a:schemeClr val="accent1"/>
                  </a:solidFill>
                  <a:hlinkClick r:id="rId4"/>
                </a:rPr>
                <a:t>Strong for Surgery</a:t>
              </a:r>
              <a:r>
                <a:rPr lang="en-US" sz="1600" kern="1200" dirty="0">
                  <a:solidFill>
                    <a:schemeClr val="accent1"/>
                  </a:solidFill>
                </a:rPr>
                <a:t> preoperative checklists).</a:t>
              </a:r>
            </a:p>
            <a:p>
              <a:pPr marL="171450" lvl="1" indent="-171450" algn="l" defTabSz="711200">
                <a:lnSpc>
                  <a:spcPct val="100000"/>
                </a:lnSpc>
                <a:spcBef>
                  <a:spcPct val="0"/>
                </a:spcBef>
                <a:spcAft>
                  <a:spcPts val="600"/>
                </a:spcAft>
                <a:buChar char="••"/>
              </a:pPr>
              <a:r>
                <a:rPr lang="en-US" sz="1600" kern="1200" dirty="0">
                  <a:solidFill>
                    <a:schemeClr val="accent1"/>
                  </a:solidFill>
                </a:rPr>
                <a:t>Expand clinical training opportunities (e.g., simulation to practice surgical techniques and coaching on technical, safety, and teamwork skills).</a:t>
              </a:r>
            </a:p>
          </p:txBody>
        </p:sp>
      </p:grpSp>
    </p:spTree>
    <p:extLst>
      <p:ext uri="{BB962C8B-B14F-4D97-AF65-F5344CB8AC3E}">
        <p14:creationId xmlns:p14="http://schemas.microsoft.com/office/powerpoint/2010/main" val="33866074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strategies for all healthcare teams</a:t>
            </a:r>
          </a:p>
        </p:txBody>
      </p:sp>
      <p:sp>
        <p:nvSpPr>
          <p:cNvPr id="3" name="Slide Number Placeholder 2"/>
          <p:cNvSpPr>
            <a:spLocks noGrp="1"/>
          </p:cNvSpPr>
          <p:nvPr>
            <p:ph type="sldNum" sz="quarter" idx="12"/>
          </p:nvPr>
        </p:nvSpPr>
        <p:spPr/>
        <p:txBody>
          <a:bodyPr/>
          <a:lstStyle/>
          <a:p>
            <a:fld id="{DA135043-C596-1A48-8BDA-03EB29A64DF4}" type="slidenum">
              <a:rPr lang="en-US" smtClean="0"/>
              <a:t>38</a:t>
            </a:fld>
            <a:endParaRPr lang="en-US" dirty="0"/>
          </a:p>
        </p:txBody>
      </p:sp>
      <p:sp>
        <p:nvSpPr>
          <p:cNvPr id="5" name="Text Placeholder 4"/>
          <p:cNvSpPr>
            <a:spLocks noGrp="1"/>
          </p:cNvSpPr>
          <p:nvPr>
            <p:ph type="body" sz="quarter" idx="14"/>
          </p:nvPr>
        </p:nvSpPr>
        <p:spPr/>
        <p:txBody>
          <a:bodyPr/>
          <a:lstStyle/>
          <a:p>
            <a:r>
              <a:rPr lang="en-US" dirty="0"/>
              <a:t>Candello Solutions by CRICO. (2022, March 1). </a:t>
            </a:r>
            <a:r>
              <a:rPr lang="en-US" i="1" dirty="0"/>
              <a:t>Known complications of surgery. </a:t>
            </a:r>
            <a:r>
              <a:rPr lang="en-US" dirty="0"/>
              <a:t>Retrieved from </a:t>
            </a:r>
            <a:r>
              <a:rPr lang="en-US" dirty="0">
                <a:hlinkClick r:id="rId3"/>
              </a:rPr>
              <a:t>https://cbscommunity.rmfstrategies.com/content_items/known-complications-of-surgery</a:t>
            </a:r>
            <a:r>
              <a:rPr lang="en-US" dirty="0"/>
              <a:t> </a:t>
            </a:r>
          </a:p>
        </p:txBody>
      </p:sp>
      <p:grpSp>
        <p:nvGrpSpPr>
          <p:cNvPr id="8" name="Group 7"/>
          <p:cNvGrpSpPr/>
          <p:nvPr/>
        </p:nvGrpSpPr>
        <p:grpSpPr>
          <a:xfrm>
            <a:off x="414729" y="1156504"/>
            <a:ext cx="7807327" cy="5059745"/>
            <a:chOff x="498473" y="783701"/>
            <a:chExt cx="7807327" cy="5059745"/>
          </a:xfrm>
        </p:grpSpPr>
        <p:sp>
          <p:nvSpPr>
            <p:cNvPr id="9" name="Freeform 8"/>
            <p:cNvSpPr/>
            <p:nvPr/>
          </p:nvSpPr>
          <p:spPr>
            <a:xfrm>
              <a:off x="498475" y="783701"/>
              <a:ext cx="7807325" cy="731520"/>
            </a:xfrm>
            <a:custGeom>
              <a:avLst/>
              <a:gdLst>
                <a:gd name="connsiteX0" fmla="*/ 0 w 7807325"/>
                <a:gd name="connsiteY0" fmla="*/ 155392 h 932331"/>
                <a:gd name="connsiteX1" fmla="*/ 155392 w 7807325"/>
                <a:gd name="connsiteY1" fmla="*/ 0 h 932331"/>
                <a:gd name="connsiteX2" fmla="*/ 7651933 w 7807325"/>
                <a:gd name="connsiteY2" fmla="*/ 0 h 932331"/>
                <a:gd name="connsiteX3" fmla="*/ 7807325 w 7807325"/>
                <a:gd name="connsiteY3" fmla="*/ 155392 h 932331"/>
                <a:gd name="connsiteX4" fmla="*/ 7807325 w 7807325"/>
                <a:gd name="connsiteY4" fmla="*/ 776939 h 932331"/>
                <a:gd name="connsiteX5" fmla="*/ 7651933 w 7807325"/>
                <a:gd name="connsiteY5" fmla="*/ 932331 h 932331"/>
                <a:gd name="connsiteX6" fmla="*/ 155392 w 7807325"/>
                <a:gd name="connsiteY6" fmla="*/ 932331 h 932331"/>
                <a:gd name="connsiteX7" fmla="*/ 0 w 7807325"/>
                <a:gd name="connsiteY7" fmla="*/ 776939 h 932331"/>
                <a:gd name="connsiteX8" fmla="*/ 0 w 7807325"/>
                <a:gd name="connsiteY8" fmla="*/ 155392 h 932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7325" h="932331">
                  <a:moveTo>
                    <a:pt x="0" y="155392"/>
                  </a:moveTo>
                  <a:cubicBezTo>
                    <a:pt x="0" y="69571"/>
                    <a:pt x="69571" y="0"/>
                    <a:pt x="155392" y="0"/>
                  </a:cubicBezTo>
                  <a:lnTo>
                    <a:pt x="7651933" y="0"/>
                  </a:lnTo>
                  <a:cubicBezTo>
                    <a:pt x="7737754" y="0"/>
                    <a:pt x="7807325" y="69571"/>
                    <a:pt x="7807325" y="155392"/>
                  </a:cubicBezTo>
                  <a:lnTo>
                    <a:pt x="7807325" y="776939"/>
                  </a:lnTo>
                  <a:cubicBezTo>
                    <a:pt x="7807325" y="862760"/>
                    <a:pt x="7737754" y="932331"/>
                    <a:pt x="7651933" y="932331"/>
                  </a:cubicBezTo>
                  <a:lnTo>
                    <a:pt x="155392" y="932331"/>
                  </a:lnTo>
                  <a:cubicBezTo>
                    <a:pt x="69571" y="932331"/>
                    <a:pt x="0" y="862760"/>
                    <a:pt x="0" y="776939"/>
                  </a:cubicBezTo>
                  <a:lnTo>
                    <a:pt x="0" y="155392"/>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06473" tIns="106473" rIns="106473" bIns="106473" numCol="1" spcCol="1270" anchor="ctr" anchorCtr="0">
              <a:noAutofit/>
            </a:bodyPr>
            <a:lstStyle/>
            <a:p>
              <a:pPr lvl="0" algn="l" defTabSz="711200">
                <a:lnSpc>
                  <a:spcPct val="90000"/>
                </a:lnSpc>
                <a:spcBef>
                  <a:spcPct val="0"/>
                </a:spcBef>
                <a:spcAft>
                  <a:spcPct val="35000"/>
                </a:spcAft>
              </a:pPr>
              <a:r>
                <a:rPr lang="en-US" sz="1600" b="1" kern="1200" dirty="0"/>
                <a:t>Communication</a:t>
              </a:r>
            </a:p>
          </p:txBody>
        </p:sp>
        <p:sp>
          <p:nvSpPr>
            <p:cNvPr id="10" name="Freeform 9"/>
            <p:cNvSpPr/>
            <p:nvPr/>
          </p:nvSpPr>
          <p:spPr>
            <a:xfrm>
              <a:off x="498475" y="1580154"/>
              <a:ext cx="7807325" cy="2334563"/>
            </a:xfrm>
            <a:custGeom>
              <a:avLst/>
              <a:gdLst>
                <a:gd name="connsiteX0" fmla="*/ 0 w 7807325"/>
                <a:gd name="connsiteY0" fmla="*/ 0 h 2852459"/>
                <a:gd name="connsiteX1" fmla="*/ 7807325 w 7807325"/>
                <a:gd name="connsiteY1" fmla="*/ 0 h 2852459"/>
                <a:gd name="connsiteX2" fmla="*/ 7807325 w 7807325"/>
                <a:gd name="connsiteY2" fmla="*/ 2852459 h 2852459"/>
                <a:gd name="connsiteX3" fmla="*/ 0 w 7807325"/>
                <a:gd name="connsiteY3" fmla="*/ 2852459 h 2852459"/>
                <a:gd name="connsiteX4" fmla="*/ 0 w 7807325"/>
                <a:gd name="connsiteY4" fmla="*/ 0 h 2852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325" h="2852459">
                  <a:moveTo>
                    <a:pt x="0" y="0"/>
                  </a:moveTo>
                  <a:lnTo>
                    <a:pt x="7807325" y="0"/>
                  </a:lnTo>
                  <a:lnTo>
                    <a:pt x="7807325" y="2852459"/>
                  </a:lnTo>
                  <a:lnTo>
                    <a:pt x="0" y="285245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7883" tIns="20320" rIns="113792" bIns="20320" numCol="1" spcCol="1270" anchor="t" anchorCtr="0">
              <a:noAutofit/>
            </a:bodyPr>
            <a:lstStyle/>
            <a:p>
              <a:pPr marL="171450" lvl="1" indent="-171450" algn="l" defTabSz="711200">
                <a:lnSpc>
                  <a:spcPct val="100000"/>
                </a:lnSpc>
                <a:spcBef>
                  <a:spcPct val="0"/>
                </a:spcBef>
                <a:spcAft>
                  <a:spcPts val="600"/>
                </a:spcAft>
                <a:buChar char="••"/>
              </a:pPr>
              <a:r>
                <a:rPr lang="en-US" sz="1600" kern="1200" dirty="0">
                  <a:solidFill>
                    <a:schemeClr val="accent1"/>
                  </a:solidFill>
                  <a:hlinkClick r:id="rId4"/>
                </a:rPr>
                <a:t>Effective Communication Between Doctors and Advanced Practice Providers</a:t>
              </a:r>
              <a:endParaRPr lang="en-US" sz="1600" kern="1200" dirty="0">
                <a:solidFill>
                  <a:schemeClr val="accent1"/>
                </a:solidFill>
              </a:endParaRPr>
            </a:p>
            <a:p>
              <a:pPr marL="171450" lvl="1" indent="-171450" algn="l" defTabSz="711200">
                <a:lnSpc>
                  <a:spcPct val="100000"/>
                </a:lnSpc>
                <a:spcBef>
                  <a:spcPct val="0"/>
                </a:spcBef>
                <a:spcAft>
                  <a:spcPts val="600"/>
                </a:spcAft>
                <a:buChar char="••"/>
              </a:pPr>
              <a:r>
                <a:rPr lang="en-US" sz="1600" dirty="0">
                  <a:solidFill>
                    <a:schemeClr val="accent1"/>
                  </a:solidFill>
                  <a:hlinkClick r:id="rId5"/>
                </a:rPr>
                <a:t>Communication in the Diagnostic Process</a:t>
              </a:r>
              <a:endParaRPr lang="en-US" sz="1600" dirty="0">
                <a:solidFill>
                  <a:schemeClr val="accent1"/>
                </a:solidFill>
              </a:endParaRPr>
            </a:p>
            <a:p>
              <a:pPr marL="171450" lvl="1" indent="-171450" algn="l" defTabSz="711200">
                <a:lnSpc>
                  <a:spcPct val="100000"/>
                </a:lnSpc>
                <a:spcBef>
                  <a:spcPct val="0"/>
                </a:spcBef>
                <a:spcAft>
                  <a:spcPts val="600"/>
                </a:spcAft>
                <a:buChar char="••"/>
              </a:pPr>
              <a:r>
                <a:rPr lang="en-US" sz="1600" kern="1200" dirty="0">
                  <a:solidFill>
                    <a:schemeClr val="accent1"/>
                  </a:solidFill>
                  <a:hlinkClick r:id="rId6"/>
                </a:rPr>
                <a:t>Culture of Saf</a:t>
              </a:r>
              <a:r>
                <a:rPr lang="en-US" sz="1600" dirty="0">
                  <a:solidFill>
                    <a:schemeClr val="accent1"/>
                  </a:solidFill>
                  <a:hlinkClick r:id="rId6"/>
                </a:rPr>
                <a:t>ety </a:t>
              </a:r>
              <a:r>
                <a:rPr lang="en-US" sz="1600" dirty="0">
                  <a:solidFill>
                    <a:schemeClr val="accent1"/>
                  </a:solidFill>
                </a:rPr>
                <a:t>resource list (includes </a:t>
              </a:r>
              <a:r>
                <a:rPr lang="en-US" sz="1600" dirty="0" err="1">
                  <a:solidFill>
                    <a:schemeClr val="accent1"/>
                  </a:solidFill>
                </a:rPr>
                <a:t>TeamSTEPPS</a:t>
              </a:r>
              <a:r>
                <a:rPr lang="en-US" sz="1600" dirty="0">
                  <a:solidFill>
                    <a:schemeClr val="accent1"/>
                  </a:solidFill>
                </a:rPr>
                <a:t>)</a:t>
              </a:r>
            </a:p>
            <a:p>
              <a:pPr marL="171450" lvl="1" indent="-171450" algn="l" defTabSz="711200">
                <a:lnSpc>
                  <a:spcPct val="100000"/>
                </a:lnSpc>
                <a:spcBef>
                  <a:spcPct val="0"/>
                </a:spcBef>
                <a:spcAft>
                  <a:spcPts val="600"/>
                </a:spcAft>
                <a:buChar char="••"/>
              </a:pPr>
              <a:r>
                <a:rPr lang="en-US" sz="1600" kern="1200" dirty="0">
                  <a:solidFill>
                    <a:schemeClr val="accent1"/>
                  </a:solidFill>
                  <a:hlinkClick r:id="rId7"/>
                </a:rPr>
                <a:t>Hospitalist Communication</a:t>
              </a:r>
              <a:endParaRPr lang="en-US" sz="1600" kern="1200" dirty="0">
                <a:solidFill>
                  <a:schemeClr val="accent1"/>
                </a:solidFill>
              </a:endParaRPr>
            </a:p>
            <a:p>
              <a:pPr marL="171450" lvl="1" indent="-171450" algn="l" defTabSz="711200">
                <a:lnSpc>
                  <a:spcPct val="100000"/>
                </a:lnSpc>
                <a:spcBef>
                  <a:spcPct val="0"/>
                </a:spcBef>
                <a:spcAft>
                  <a:spcPts val="600"/>
                </a:spcAft>
                <a:buChar char="••"/>
              </a:pPr>
              <a:r>
                <a:rPr lang="en-US" sz="1600" dirty="0">
                  <a:solidFill>
                    <a:schemeClr val="accent1"/>
                  </a:solidFill>
                  <a:hlinkClick r:id="rId8"/>
                </a:rPr>
                <a:t>Addressing Disruptive Behaviors Among Healthcare Professionals</a:t>
              </a:r>
              <a:endParaRPr lang="en-US" sz="1600" dirty="0">
                <a:solidFill>
                  <a:schemeClr val="accent1"/>
                </a:solidFill>
              </a:endParaRPr>
            </a:p>
            <a:p>
              <a:pPr marL="171450" lvl="1" indent="-171450" algn="l" defTabSz="711200">
                <a:lnSpc>
                  <a:spcPct val="100000"/>
                </a:lnSpc>
                <a:spcBef>
                  <a:spcPct val="0"/>
                </a:spcBef>
                <a:spcAft>
                  <a:spcPts val="600"/>
                </a:spcAft>
                <a:buChar char="••"/>
              </a:pPr>
              <a:r>
                <a:rPr lang="en-US" sz="1600" kern="1200" dirty="0">
                  <a:solidFill>
                    <a:schemeClr val="accent1"/>
                  </a:solidFill>
                  <a:hlinkClick r:id="rId9"/>
                </a:rPr>
                <a:t>Collaborating with Healthcare Staff to Improve Patient Safety, Adherence, and Satisfaction</a:t>
              </a:r>
              <a:endParaRPr lang="en-US" sz="1600" kern="1200" dirty="0">
                <a:solidFill>
                  <a:schemeClr val="accent1"/>
                </a:solidFill>
              </a:endParaRPr>
            </a:p>
          </p:txBody>
        </p:sp>
        <p:sp>
          <p:nvSpPr>
            <p:cNvPr id="12" name="Freeform 11"/>
            <p:cNvSpPr/>
            <p:nvPr/>
          </p:nvSpPr>
          <p:spPr>
            <a:xfrm>
              <a:off x="498474" y="3979650"/>
              <a:ext cx="7807325" cy="731520"/>
            </a:xfrm>
            <a:custGeom>
              <a:avLst/>
              <a:gdLst>
                <a:gd name="connsiteX0" fmla="*/ 0 w 7807325"/>
                <a:gd name="connsiteY0" fmla="*/ 162243 h 973440"/>
                <a:gd name="connsiteX1" fmla="*/ 162243 w 7807325"/>
                <a:gd name="connsiteY1" fmla="*/ 0 h 973440"/>
                <a:gd name="connsiteX2" fmla="*/ 7645082 w 7807325"/>
                <a:gd name="connsiteY2" fmla="*/ 0 h 973440"/>
                <a:gd name="connsiteX3" fmla="*/ 7807325 w 7807325"/>
                <a:gd name="connsiteY3" fmla="*/ 162243 h 973440"/>
                <a:gd name="connsiteX4" fmla="*/ 7807325 w 7807325"/>
                <a:gd name="connsiteY4" fmla="*/ 811197 h 973440"/>
                <a:gd name="connsiteX5" fmla="*/ 7645082 w 7807325"/>
                <a:gd name="connsiteY5" fmla="*/ 973440 h 973440"/>
                <a:gd name="connsiteX6" fmla="*/ 162243 w 7807325"/>
                <a:gd name="connsiteY6" fmla="*/ 973440 h 973440"/>
                <a:gd name="connsiteX7" fmla="*/ 0 w 7807325"/>
                <a:gd name="connsiteY7" fmla="*/ 811197 h 973440"/>
                <a:gd name="connsiteX8" fmla="*/ 0 w 7807325"/>
                <a:gd name="connsiteY8" fmla="*/ 162243 h 97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7325" h="973440">
                  <a:moveTo>
                    <a:pt x="0" y="162243"/>
                  </a:moveTo>
                  <a:cubicBezTo>
                    <a:pt x="0" y="72639"/>
                    <a:pt x="72639" y="0"/>
                    <a:pt x="162243" y="0"/>
                  </a:cubicBezTo>
                  <a:lnTo>
                    <a:pt x="7645082" y="0"/>
                  </a:lnTo>
                  <a:cubicBezTo>
                    <a:pt x="7734686" y="0"/>
                    <a:pt x="7807325" y="72639"/>
                    <a:pt x="7807325" y="162243"/>
                  </a:cubicBezTo>
                  <a:lnTo>
                    <a:pt x="7807325" y="811197"/>
                  </a:lnTo>
                  <a:cubicBezTo>
                    <a:pt x="7807325" y="900801"/>
                    <a:pt x="7734686" y="973440"/>
                    <a:pt x="7645082" y="973440"/>
                  </a:cubicBezTo>
                  <a:lnTo>
                    <a:pt x="162243" y="973440"/>
                  </a:lnTo>
                  <a:cubicBezTo>
                    <a:pt x="72639" y="973440"/>
                    <a:pt x="0" y="900801"/>
                    <a:pt x="0" y="811197"/>
                  </a:cubicBezTo>
                  <a:lnTo>
                    <a:pt x="0" y="162243"/>
                  </a:lnTo>
                  <a:close/>
                </a:path>
              </a:pathLst>
            </a:custGeom>
          </p:spPr>
          <p:style>
            <a:lnRef idx="2">
              <a:schemeClr val="lt1">
                <a:hueOff val="0"/>
                <a:satOff val="0"/>
                <a:lumOff val="0"/>
                <a:alphaOff val="0"/>
              </a:schemeClr>
            </a:lnRef>
            <a:fillRef idx="1">
              <a:schemeClr val="accent2">
                <a:hueOff val="49418"/>
                <a:satOff val="63158"/>
                <a:lumOff val="7059"/>
                <a:alphaOff val="0"/>
              </a:schemeClr>
            </a:fillRef>
            <a:effectRef idx="0">
              <a:schemeClr val="accent2">
                <a:hueOff val="49418"/>
                <a:satOff val="63158"/>
                <a:lumOff val="7059"/>
                <a:alphaOff val="0"/>
              </a:schemeClr>
            </a:effectRef>
            <a:fontRef idx="minor">
              <a:schemeClr val="lt1"/>
            </a:fontRef>
          </p:style>
          <p:txBody>
            <a:bodyPr spcFirstLastPara="0" vert="horz" wrap="square" lIns="108479" tIns="108479" rIns="108479" bIns="108479" numCol="1" spcCol="1270" anchor="ctr" anchorCtr="0">
              <a:noAutofit/>
            </a:bodyPr>
            <a:lstStyle/>
            <a:p>
              <a:pPr lvl="0" algn="l" defTabSz="711200">
                <a:lnSpc>
                  <a:spcPct val="90000"/>
                </a:lnSpc>
                <a:spcBef>
                  <a:spcPct val="0"/>
                </a:spcBef>
                <a:spcAft>
                  <a:spcPct val="35000"/>
                </a:spcAft>
              </a:pPr>
              <a:r>
                <a:rPr lang="en-US" sz="1600" b="1" kern="1200" dirty="0"/>
                <a:t>Culture of safety</a:t>
              </a:r>
            </a:p>
          </p:txBody>
        </p:sp>
        <p:sp>
          <p:nvSpPr>
            <p:cNvPr id="13" name="Freeform 12"/>
            <p:cNvSpPr/>
            <p:nvPr/>
          </p:nvSpPr>
          <p:spPr>
            <a:xfrm>
              <a:off x="498473" y="4982326"/>
              <a:ext cx="7807325" cy="861120"/>
            </a:xfrm>
            <a:custGeom>
              <a:avLst/>
              <a:gdLst>
                <a:gd name="connsiteX0" fmla="*/ 0 w 7807325"/>
                <a:gd name="connsiteY0" fmla="*/ 0 h 861120"/>
                <a:gd name="connsiteX1" fmla="*/ 7807325 w 7807325"/>
                <a:gd name="connsiteY1" fmla="*/ 0 h 861120"/>
                <a:gd name="connsiteX2" fmla="*/ 7807325 w 7807325"/>
                <a:gd name="connsiteY2" fmla="*/ 861120 h 861120"/>
                <a:gd name="connsiteX3" fmla="*/ 0 w 7807325"/>
                <a:gd name="connsiteY3" fmla="*/ 861120 h 861120"/>
                <a:gd name="connsiteX4" fmla="*/ 0 w 7807325"/>
                <a:gd name="connsiteY4" fmla="*/ 0 h 86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7325" h="861120">
                  <a:moveTo>
                    <a:pt x="0" y="0"/>
                  </a:moveTo>
                  <a:lnTo>
                    <a:pt x="7807325" y="0"/>
                  </a:lnTo>
                  <a:lnTo>
                    <a:pt x="7807325" y="861120"/>
                  </a:lnTo>
                  <a:lnTo>
                    <a:pt x="0" y="86112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7883" tIns="20320" rIns="113792" bIns="20320" numCol="1" spcCol="1270" anchor="t" anchorCtr="0">
              <a:noAutofit/>
            </a:bodyPr>
            <a:lstStyle/>
            <a:p>
              <a:pPr marL="171450" lvl="1" indent="-171450" algn="l" defTabSz="711200">
                <a:lnSpc>
                  <a:spcPct val="100000"/>
                </a:lnSpc>
                <a:spcBef>
                  <a:spcPct val="0"/>
                </a:spcBef>
                <a:spcAft>
                  <a:spcPct val="20000"/>
                </a:spcAft>
                <a:buChar char="••"/>
              </a:pPr>
              <a:r>
                <a:rPr lang="en-US" sz="1600" kern="1200" dirty="0">
                  <a:solidFill>
                    <a:schemeClr val="accent1"/>
                  </a:solidFill>
                </a:rPr>
                <a:t>Maintain an environment in which all members of the team feel empowered to speak up when they see something that appears unsafe or have concerns</a:t>
              </a:r>
            </a:p>
          </p:txBody>
        </p:sp>
      </p:grpSp>
      <p:pic>
        <p:nvPicPr>
          <p:cNvPr id="7" name="Picture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769983" y="1847849"/>
            <a:ext cx="3038475" cy="3038475"/>
          </a:xfrm>
          <a:prstGeom prst="rect">
            <a:avLst/>
          </a:prstGeom>
        </p:spPr>
      </p:pic>
    </p:spTree>
    <p:extLst>
      <p:ext uri="{BB962C8B-B14F-4D97-AF65-F5344CB8AC3E}">
        <p14:creationId xmlns:p14="http://schemas.microsoft.com/office/powerpoint/2010/main" val="2390254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rganizational risk strategi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39</a:t>
            </a:fld>
            <a:endParaRPr lang="en-US"/>
          </a:p>
        </p:txBody>
      </p:sp>
      <p:graphicFrame>
        <p:nvGraphicFramePr>
          <p:cNvPr id="8" name="Content Placeholder 8"/>
          <p:cNvGraphicFramePr>
            <a:graphicFrameLocks/>
          </p:cNvGraphicFramePr>
          <p:nvPr>
            <p:extLst>
              <p:ext uri="{D42A27DB-BD31-4B8C-83A1-F6EECF244321}">
                <p14:modId xmlns:p14="http://schemas.microsoft.com/office/powerpoint/2010/main" val="3419677222"/>
              </p:ext>
            </p:extLst>
          </p:nvPr>
        </p:nvGraphicFramePr>
        <p:xfrm>
          <a:off x="518780" y="642410"/>
          <a:ext cx="11235070" cy="5567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670864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tion of soft skills</a:t>
            </a:r>
          </a:p>
        </p:txBody>
      </p:sp>
      <p:sp>
        <p:nvSpPr>
          <p:cNvPr id="3" name="Slide Number Placeholder 2"/>
          <p:cNvSpPr>
            <a:spLocks noGrp="1"/>
          </p:cNvSpPr>
          <p:nvPr>
            <p:ph type="sldNum" sz="quarter" idx="12"/>
          </p:nvPr>
        </p:nvSpPr>
        <p:spPr/>
        <p:txBody>
          <a:bodyPr/>
          <a:lstStyle/>
          <a:p>
            <a:fld id="{DA135043-C596-1A48-8BDA-03EB29A64DF4}" type="slidenum">
              <a:rPr lang="en-US" smtClean="0"/>
              <a:t>4</a:t>
            </a:fld>
            <a:endParaRPr lang="en-US" dirty="0"/>
          </a:p>
        </p:txBody>
      </p:sp>
      <p:sp>
        <p:nvSpPr>
          <p:cNvPr id="6" name="Text Placeholder 5"/>
          <p:cNvSpPr>
            <a:spLocks noGrp="1"/>
          </p:cNvSpPr>
          <p:nvPr>
            <p:ph type="body" sz="quarter" idx="14"/>
          </p:nvPr>
        </p:nvSpPr>
        <p:spPr/>
        <p:txBody>
          <a:bodyPr/>
          <a:lstStyle/>
          <a:p>
            <a:r>
              <a:rPr lang="en-US" dirty="0"/>
              <a:t>Kenton, W. (2021). </a:t>
            </a:r>
            <a:r>
              <a:rPr lang="en-US" i="1" dirty="0"/>
              <a:t>What are soft skills?</a:t>
            </a:r>
            <a:r>
              <a:rPr lang="en-US" dirty="0"/>
              <a:t> Investopedia. Retrieved from </a:t>
            </a:r>
            <a:r>
              <a:rPr lang="en-US" u="sng" dirty="0">
                <a:hlinkClick r:id="rId3"/>
              </a:rPr>
              <a:t>www.investopedia.com/terms/s/soft-skills.asp</a:t>
            </a:r>
            <a:endParaRPr lang="en-US" dirty="0"/>
          </a:p>
        </p:txBody>
      </p:sp>
      <p:graphicFrame>
        <p:nvGraphicFramePr>
          <p:cNvPr id="8" name="Diagram 7"/>
          <p:cNvGraphicFramePr/>
          <p:nvPr>
            <p:extLst>
              <p:ext uri="{D42A27DB-BD31-4B8C-83A1-F6EECF244321}">
                <p14:modId xmlns:p14="http://schemas.microsoft.com/office/powerpoint/2010/main" val="3177974833"/>
              </p:ext>
            </p:extLst>
          </p:nvPr>
        </p:nvGraphicFramePr>
        <p:xfrm>
          <a:off x="414731" y="1003805"/>
          <a:ext cx="5857279" cy="507894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1" name="Picture 10"/>
          <p:cNvPicPr>
            <a:picLocks noChangeAspect="1"/>
          </p:cNvPicPr>
          <p:nvPr/>
        </p:nvPicPr>
        <p:blipFill rotWithShape="1">
          <a:blip r:embed="rId9">
            <a:clrChange>
              <a:clrFrom>
                <a:srgbClr val="FFFFFF"/>
              </a:clrFrom>
              <a:clrTo>
                <a:srgbClr val="FFFFFF">
                  <a:alpha val="0"/>
                </a:srgbClr>
              </a:clrTo>
            </a:clrChange>
            <a:duotone>
              <a:schemeClr val="accent1">
                <a:shade val="45000"/>
                <a:satMod val="135000"/>
              </a:schemeClr>
              <a:prstClr val="white"/>
            </a:duotone>
          </a:blip>
          <a:srcRect l="6854" t="10035" r="74809" b="55016"/>
          <a:stretch/>
        </p:blipFill>
        <p:spPr>
          <a:xfrm>
            <a:off x="6931769" y="295645"/>
            <a:ext cx="997145" cy="1055800"/>
          </a:xfrm>
          <a:prstGeom prst="rect">
            <a:avLst/>
          </a:prstGeom>
        </p:spPr>
      </p:pic>
      <p:pic>
        <p:nvPicPr>
          <p:cNvPr id="12" name="Picture 11"/>
          <p:cNvPicPr>
            <a:picLocks noChangeAspect="1"/>
          </p:cNvPicPr>
          <p:nvPr/>
        </p:nvPicPr>
        <p:blipFill rotWithShape="1">
          <a:blip r:embed="rId9">
            <a:duotone>
              <a:schemeClr val="accent4">
                <a:shade val="45000"/>
                <a:satMod val="135000"/>
              </a:schemeClr>
              <a:prstClr val="white"/>
            </a:duotone>
          </a:blip>
          <a:srcRect l="31124" t="11007" r="52337" b="55986"/>
          <a:stretch/>
        </p:blipFill>
        <p:spPr>
          <a:xfrm>
            <a:off x="9423885" y="309286"/>
            <a:ext cx="927684" cy="1028518"/>
          </a:xfrm>
          <a:prstGeom prst="rect">
            <a:avLst/>
          </a:prstGeom>
        </p:spPr>
      </p:pic>
      <p:pic>
        <p:nvPicPr>
          <p:cNvPr id="13" name="Picture 12"/>
          <p:cNvPicPr>
            <a:picLocks noChangeAspect="1"/>
          </p:cNvPicPr>
          <p:nvPr/>
        </p:nvPicPr>
        <p:blipFill rotWithShape="1">
          <a:blip r:embed="rId9">
            <a:duotone>
              <a:schemeClr val="accent6">
                <a:shade val="45000"/>
                <a:satMod val="135000"/>
              </a:schemeClr>
              <a:prstClr val="white"/>
            </a:duotone>
          </a:blip>
          <a:srcRect l="55214" t="7771" r="29325" b="55663"/>
          <a:stretch/>
        </p:blipFill>
        <p:spPr>
          <a:xfrm>
            <a:off x="8267991" y="264544"/>
            <a:ext cx="816817" cy="1073260"/>
          </a:xfrm>
          <a:prstGeom prst="rect">
            <a:avLst/>
          </a:prstGeom>
        </p:spPr>
      </p:pic>
      <p:pic>
        <p:nvPicPr>
          <p:cNvPr id="15" name="Picture 14"/>
          <p:cNvPicPr>
            <a:picLocks noChangeAspect="1"/>
          </p:cNvPicPr>
          <p:nvPr/>
        </p:nvPicPr>
        <p:blipFill rotWithShape="1">
          <a:blip r:embed="rId9">
            <a:duotone>
              <a:schemeClr val="accent5">
                <a:shade val="45000"/>
                <a:satMod val="135000"/>
              </a:schemeClr>
              <a:prstClr val="white"/>
            </a:duotone>
          </a:blip>
          <a:srcRect l="77865" t="51455" r="5775" b="12625"/>
          <a:stretch/>
        </p:blipFill>
        <p:spPr>
          <a:xfrm>
            <a:off x="10778373" y="295645"/>
            <a:ext cx="872965" cy="1064824"/>
          </a:xfrm>
          <a:prstGeom prst="rect">
            <a:avLst/>
          </a:prstGeom>
        </p:spPr>
      </p:pic>
      <p:graphicFrame>
        <p:nvGraphicFramePr>
          <p:cNvPr id="16" name="Table 15"/>
          <p:cNvGraphicFramePr>
            <a:graphicFrameLocks noGrp="1"/>
          </p:cNvGraphicFramePr>
          <p:nvPr>
            <p:extLst>
              <p:ext uri="{D42A27DB-BD31-4B8C-83A1-F6EECF244321}">
                <p14:modId xmlns:p14="http://schemas.microsoft.com/office/powerpoint/2010/main" val="3800923681"/>
              </p:ext>
            </p:extLst>
          </p:nvPr>
        </p:nvGraphicFramePr>
        <p:xfrm>
          <a:off x="6892413" y="1506330"/>
          <a:ext cx="4896464" cy="3920101"/>
        </p:xfrm>
        <a:graphic>
          <a:graphicData uri="http://schemas.openxmlformats.org/drawingml/2006/table">
            <a:tbl>
              <a:tblPr firstRow="1" bandRow="1">
                <a:tableStyleId>{EB344D84-9AFB-497E-A393-DC336BA19D2E}</a:tableStyleId>
              </a:tblPr>
              <a:tblGrid>
                <a:gridCol w="2448232">
                  <a:extLst>
                    <a:ext uri="{9D8B030D-6E8A-4147-A177-3AD203B41FA5}">
                      <a16:colId xmlns:a16="http://schemas.microsoft.com/office/drawing/2014/main" val="3689140608"/>
                    </a:ext>
                  </a:extLst>
                </a:gridCol>
                <a:gridCol w="2448232">
                  <a:extLst>
                    <a:ext uri="{9D8B030D-6E8A-4147-A177-3AD203B41FA5}">
                      <a16:colId xmlns:a16="http://schemas.microsoft.com/office/drawing/2014/main" val="877744426"/>
                    </a:ext>
                  </a:extLst>
                </a:gridCol>
              </a:tblGrid>
              <a:tr h="652749">
                <a:tc gridSpan="2">
                  <a:txBody>
                    <a:bodyPr/>
                    <a:lstStyle/>
                    <a:p>
                      <a:r>
                        <a:rPr lang="en-US" sz="2400" dirty="0"/>
                        <a:t>Examples</a:t>
                      </a:r>
                      <a:r>
                        <a:rPr lang="en-US" sz="2400" baseline="0" dirty="0"/>
                        <a:t> of soft skills</a:t>
                      </a:r>
                      <a:endParaRPr lang="en-US" sz="2400" dirty="0"/>
                    </a:p>
                  </a:txBody>
                  <a:tcPr anchor="ctr">
                    <a:lnL>
                      <a:noFill/>
                    </a:lnL>
                    <a:lnR>
                      <a:noFill/>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2000" dirty="0"/>
                    </a:p>
                  </a:txBody>
                  <a:tcPr anchor="ctr">
                    <a:lnL>
                      <a:noFill/>
                    </a:lnL>
                    <a:lnR>
                      <a:noFill/>
                    </a:ln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0222631"/>
                  </a:ext>
                </a:extLst>
              </a:tr>
              <a:tr h="816838">
                <a:tc>
                  <a:txBody>
                    <a:bodyPr/>
                    <a:lstStyle/>
                    <a:p>
                      <a:pPr marL="119063" lvl="1" indent="0">
                        <a:spcBef>
                          <a:spcPts val="600"/>
                        </a:spcBef>
                        <a:spcAft>
                          <a:spcPts val="600"/>
                        </a:spcAft>
                        <a:buFont typeface="Arial" panose="020B0604020202020204" pitchFamily="34" charset="0"/>
                        <a:buNone/>
                      </a:pPr>
                      <a:r>
                        <a:rPr lang="en-US" sz="2400" dirty="0">
                          <a:solidFill>
                            <a:schemeClr val="tx2"/>
                          </a:solidFill>
                        </a:rPr>
                        <a:t>Empathy</a:t>
                      </a:r>
                    </a:p>
                  </a:txBody>
                  <a:tcPr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119063" lvl="1" indent="0">
                        <a:spcAft>
                          <a:spcPts val="600"/>
                        </a:spcAft>
                        <a:buFont typeface="Arial" panose="020B0604020202020204" pitchFamily="34" charset="0"/>
                        <a:buNone/>
                      </a:pPr>
                      <a:r>
                        <a:rPr lang="en-US" sz="2400" dirty="0">
                          <a:solidFill>
                            <a:schemeClr val="tx2"/>
                          </a:solidFill>
                        </a:rPr>
                        <a:t>Humility</a:t>
                      </a:r>
                    </a:p>
                  </a:txBody>
                  <a:tcPr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514378452"/>
                  </a:ext>
                </a:extLst>
              </a:tr>
              <a:tr h="816838">
                <a:tc>
                  <a:txBody>
                    <a:bodyPr/>
                    <a:lstStyle/>
                    <a:p>
                      <a:pPr marL="119063" lvl="1" indent="0">
                        <a:spcAft>
                          <a:spcPts val="600"/>
                        </a:spcAft>
                        <a:buFont typeface="Arial" panose="020B0604020202020204" pitchFamily="34" charset="0"/>
                        <a:buNone/>
                      </a:pPr>
                      <a:r>
                        <a:rPr lang="en-US" sz="2400" dirty="0">
                          <a:solidFill>
                            <a:schemeClr val="tx2"/>
                          </a:solidFill>
                        </a:rPr>
                        <a:t>Active listening</a:t>
                      </a:r>
                    </a:p>
                  </a:txBody>
                  <a:tcPr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119063" lvl="1" indent="0">
                        <a:spcAft>
                          <a:spcPts val="600"/>
                        </a:spcAft>
                        <a:buFont typeface="Arial" panose="020B0604020202020204" pitchFamily="34" charset="0"/>
                        <a:buNone/>
                      </a:pPr>
                      <a:r>
                        <a:rPr lang="en-US" sz="2400" dirty="0">
                          <a:solidFill>
                            <a:schemeClr val="tx2"/>
                          </a:solidFill>
                        </a:rPr>
                        <a:t>Communication</a:t>
                      </a:r>
                    </a:p>
                  </a:txBody>
                  <a:tcPr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651426381"/>
                  </a:ext>
                </a:extLst>
              </a:tr>
              <a:tr h="816838">
                <a:tc>
                  <a:txBody>
                    <a:bodyPr/>
                    <a:lstStyle/>
                    <a:p>
                      <a:pPr marL="119063" lvl="1" indent="0">
                        <a:spcAft>
                          <a:spcPts val="600"/>
                        </a:spcAft>
                        <a:buFont typeface="Arial" panose="020B0604020202020204" pitchFamily="34" charset="0"/>
                        <a:buNone/>
                      </a:pPr>
                      <a:r>
                        <a:rPr lang="en-US" sz="2400" dirty="0">
                          <a:solidFill>
                            <a:schemeClr val="tx2"/>
                          </a:solidFill>
                        </a:rPr>
                        <a:t>Honesty</a:t>
                      </a:r>
                    </a:p>
                  </a:txBody>
                  <a:tcPr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119063" lvl="1" indent="0">
                        <a:spcAft>
                          <a:spcPts val="600"/>
                        </a:spcAft>
                        <a:buFont typeface="Arial" panose="020B0604020202020204" pitchFamily="34" charset="0"/>
                        <a:buNone/>
                      </a:pPr>
                      <a:r>
                        <a:rPr lang="en-US" sz="2400" dirty="0">
                          <a:solidFill>
                            <a:schemeClr val="tx2"/>
                          </a:solidFill>
                        </a:rPr>
                        <a:t>Integrity</a:t>
                      </a:r>
                    </a:p>
                  </a:txBody>
                  <a:tcPr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18844098"/>
                  </a:ext>
                </a:extLst>
              </a:tr>
              <a:tr h="816838">
                <a:tc>
                  <a:txBody>
                    <a:bodyPr/>
                    <a:lstStyle/>
                    <a:p>
                      <a:pPr marL="119063" lvl="1" indent="0">
                        <a:spcAft>
                          <a:spcPts val="600"/>
                        </a:spcAft>
                        <a:buFont typeface="Arial" panose="020B0604020202020204" pitchFamily="34" charset="0"/>
                        <a:buNone/>
                      </a:pPr>
                      <a:r>
                        <a:rPr lang="en-US" sz="2400" dirty="0">
                          <a:solidFill>
                            <a:schemeClr val="tx2"/>
                          </a:solidFill>
                        </a:rPr>
                        <a:t>Leadership</a:t>
                      </a:r>
                    </a:p>
                  </a:txBody>
                  <a:tcPr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20000"/>
                        <a:lumOff val="80000"/>
                      </a:schemeClr>
                    </a:solidFill>
                  </a:tcPr>
                </a:tc>
                <a:tc>
                  <a:txBody>
                    <a:bodyPr/>
                    <a:lstStyle/>
                    <a:p>
                      <a:pPr marL="119063" lvl="1" indent="0">
                        <a:spcAft>
                          <a:spcPts val="600"/>
                        </a:spcAft>
                        <a:buFont typeface="Arial" panose="020B0604020202020204" pitchFamily="34" charset="0"/>
                        <a:buNone/>
                      </a:pPr>
                      <a:r>
                        <a:rPr lang="en-US" sz="2400" dirty="0">
                          <a:solidFill>
                            <a:schemeClr val="tx2"/>
                          </a:solidFill>
                        </a:rPr>
                        <a:t>Respect</a:t>
                      </a:r>
                    </a:p>
                  </a:txBody>
                  <a:tcPr anchor="ctr">
                    <a:lnT w="28575"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223361547"/>
                  </a:ext>
                </a:extLst>
              </a:tr>
            </a:tbl>
          </a:graphicData>
        </a:graphic>
      </p:graphicFrame>
    </p:spTree>
    <p:extLst>
      <p:ext uri="{BB962C8B-B14F-4D97-AF65-F5344CB8AC3E}">
        <p14:creationId xmlns:p14="http://schemas.microsoft.com/office/powerpoint/2010/main" val="4532883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Risk strategies for physicians and other provider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40</a:t>
            </a:fld>
            <a:endParaRPr lang="en-US"/>
          </a:p>
        </p:txBody>
      </p:sp>
      <p:graphicFrame>
        <p:nvGraphicFramePr>
          <p:cNvPr id="4" name="Content Placeholder 2"/>
          <p:cNvGraphicFramePr>
            <a:graphicFrameLocks/>
          </p:cNvGraphicFramePr>
          <p:nvPr>
            <p:extLst>
              <p:ext uri="{D42A27DB-BD31-4B8C-83A1-F6EECF244321}">
                <p14:modId xmlns:p14="http://schemas.microsoft.com/office/powerpoint/2010/main" val="4252778962"/>
              </p:ext>
            </p:extLst>
          </p:nvPr>
        </p:nvGraphicFramePr>
        <p:xfrm>
          <a:off x="622062" y="851049"/>
          <a:ext cx="11141313" cy="52425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944026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ummary</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41</a:t>
            </a:fld>
            <a:endParaRPr lang="en-US"/>
          </a:p>
        </p:txBody>
      </p:sp>
      <p:graphicFrame>
        <p:nvGraphicFramePr>
          <p:cNvPr id="7" name="Diagram 6"/>
          <p:cNvGraphicFramePr/>
          <p:nvPr>
            <p:extLst>
              <p:ext uri="{D42A27DB-BD31-4B8C-83A1-F6EECF244321}">
                <p14:modId xmlns:p14="http://schemas.microsoft.com/office/powerpoint/2010/main" val="3781838204"/>
              </p:ext>
            </p:extLst>
          </p:nvPr>
        </p:nvGraphicFramePr>
        <p:xfrm>
          <a:off x="516709" y="923109"/>
          <a:ext cx="11196320" cy="53384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543110" y="-3399"/>
            <a:ext cx="3169919" cy="1692104"/>
          </a:xfrm>
          <a:prstGeom prst="rect">
            <a:avLst/>
          </a:prstGeom>
        </p:spPr>
      </p:pic>
    </p:spTree>
    <p:extLst>
      <p:ext uri="{BB962C8B-B14F-4D97-AF65-F5344CB8AC3E}">
        <p14:creationId xmlns:p14="http://schemas.microsoft.com/office/powerpoint/2010/main" val="33569928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bwMode="auto">
          <a:xfrm>
            <a:off x="414731" y="141306"/>
            <a:ext cx="11058132" cy="70974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vert="horz" wrap="square" lIns="91440" tIns="45720" rIns="91440" bIns="45720" numCol="1" rtlCol="0" anchor="ctr" compatLnSpc="1">
            <a:prstTxWarp prst="textNoShape">
              <a:avLst/>
            </a:prstTxWarp>
            <a:normAutofit/>
          </a:bodyPr>
          <a:lstStyle/>
          <a:p>
            <a:pPr eaLnBrk="1" hangingPunct="1"/>
            <a:r>
              <a:rPr lang="en-US" altLang="en-US" dirty="0">
                <a:solidFill>
                  <a:srgbClr val="002F6B"/>
                </a:solidFill>
                <a:latin typeface="Arial" panose="020B0604020202020204" pitchFamily="34" charset="0"/>
                <a:cs typeface="Tahoma" panose="020B0604030504040204" pitchFamily="34" charset="0"/>
              </a:rPr>
              <a:t>Wisdom</a:t>
            </a:r>
          </a:p>
        </p:txBody>
      </p:sp>
      <p:sp>
        <p:nvSpPr>
          <p:cNvPr id="4" name="Slide Number Placeholder 3"/>
          <p:cNvSpPr>
            <a:spLocks noGrp="1"/>
          </p:cNvSpPr>
          <p:nvPr>
            <p:ph type="sldNum" sz="quarter" idx="12"/>
          </p:nvPr>
        </p:nvSpPr>
        <p:spPr/>
        <p:txBody>
          <a:bodyPr/>
          <a:lstStyle/>
          <a:p>
            <a:fld id="{DA135043-C596-1A48-8BDA-03EB29A64DF4}" type="slidenum">
              <a:rPr lang="en-US" smtClean="0"/>
              <a:t>42</a:t>
            </a:fld>
            <a:endParaRPr lang="en-US"/>
          </a:p>
        </p:txBody>
      </p:sp>
      <p:grpSp>
        <p:nvGrpSpPr>
          <p:cNvPr id="6" name="Group 5"/>
          <p:cNvGrpSpPr/>
          <p:nvPr/>
        </p:nvGrpSpPr>
        <p:grpSpPr>
          <a:xfrm>
            <a:off x="739442" y="1029893"/>
            <a:ext cx="10855657" cy="4766371"/>
            <a:chOff x="881995" y="1029893"/>
            <a:chExt cx="10855657" cy="4766371"/>
          </a:xfrm>
        </p:grpSpPr>
        <p:pic>
          <p:nvPicPr>
            <p:cNvPr id="20" name="Picture 19"/>
            <p:cNvPicPr>
              <a:picLocks noChangeAspect="1"/>
            </p:cNvPicPr>
            <p:nvPr/>
          </p:nvPicPr>
          <p:blipFill>
            <a:blip r:embed="rId3"/>
            <a:stretch>
              <a:fillRect/>
            </a:stretch>
          </p:blipFill>
          <p:spPr>
            <a:xfrm>
              <a:off x="1536427" y="1029893"/>
              <a:ext cx="262151" cy="262151"/>
            </a:xfrm>
            <a:prstGeom prst="rect">
              <a:avLst/>
            </a:prstGeom>
          </p:spPr>
        </p:pic>
        <p:sp>
          <p:nvSpPr>
            <p:cNvPr id="10" name="Rounded Rectangle 9"/>
            <p:cNvSpPr/>
            <p:nvPr/>
          </p:nvSpPr>
          <p:spPr>
            <a:xfrm>
              <a:off x="1724391" y="1400555"/>
              <a:ext cx="9601200" cy="3383280"/>
            </a:xfrm>
            <a:prstGeom prst="roundRect">
              <a:avLst>
                <a:gd name="adj" fmla="val 77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a:r>
                <a:rPr lang="en-US" sz="2800" dirty="0"/>
                <a:t>“Nobody cares how much you know, </a:t>
              </a:r>
              <a:br>
                <a:rPr lang="en-US" sz="2800" dirty="0"/>
              </a:br>
              <a:r>
                <a:rPr lang="en-US" sz="2800" dirty="0"/>
                <a:t>until they know how much you care.”</a:t>
              </a:r>
            </a:p>
            <a:p>
              <a:pPr algn="ctr">
                <a:lnSpc>
                  <a:spcPct val="90000"/>
                </a:lnSpc>
              </a:pPr>
              <a:endParaRPr lang="en-US" dirty="0" err="1"/>
            </a:p>
          </p:txBody>
        </p:sp>
        <p:sp>
          <p:nvSpPr>
            <p:cNvPr id="7" name="Rounded Rectangle 6"/>
            <p:cNvSpPr/>
            <p:nvPr/>
          </p:nvSpPr>
          <p:spPr>
            <a:xfrm>
              <a:off x="1578341" y="1579398"/>
              <a:ext cx="9601200" cy="3383280"/>
            </a:xfrm>
            <a:prstGeom prst="roundRect">
              <a:avLst>
                <a:gd name="adj" fmla="val 6937"/>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11" name="Isosceles Triangle 10"/>
            <p:cNvSpPr/>
            <p:nvPr/>
          </p:nvSpPr>
          <p:spPr>
            <a:xfrm rot="10800000">
              <a:off x="7625763" y="4746812"/>
              <a:ext cx="1247775" cy="1049452"/>
            </a:xfrm>
            <a:prstGeom prst="triangle">
              <a:avLst>
                <a:gd name="adj" fmla="val 10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16" name="TextBox 15"/>
            <p:cNvSpPr txBox="1"/>
            <p:nvPr/>
          </p:nvSpPr>
          <p:spPr>
            <a:xfrm>
              <a:off x="1533090" y="5269236"/>
              <a:ext cx="5662300" cy="480131"/>
            </a:xfrm>
            <a:prstGeom prst="rect">
              <a:avLst/>
            </a:prstGeom>
            <a:noFill/>
          </p:spPr>
          <p:txBody>
            <a:bodyPr wrap="square" rtlCol="0">
              <a:spAutoFit/>
            </a:bodyPr>
            <a:lstStyle/>
            <a:p>
              <a:pPr algn="r">
                <a:lnSpc>
                  <a:spcPct val="90000"/>
                </a:lnSpc>
              </a:pPr>
              <a:r>
                <a:rPr lang="en-US" sz="2800" b="1" dirty="0">
                  <a:solidFill>
                    <a:schemeClr val="tx2"/>
                  </a:solidFill>
                  <a:sym typeface="Symbol" panose="05050102010706020507" pitchFamily="18" charset="2"/>
                </a:rPr>
                <a:t> Theodore Roosevelt</a:t>
              </a:r>
              <a:endParaRPr lang="en-US" sz="2800" b="1" dirty="0">
                <a:solidFill>
                  <a:schemeClr val="tx2"/>
                </a:solidFill>
              </a:endParaRPr>
            </a:p>
          </p:txBody>
        </p:sp>
        <p:pic>
          <p:nvPicPr>
            <p:cNvPr id="22" name="Picture 21"/>
            <p:cNvPicPr>
              <a:picLocks noChangeAspect="1"/>
            </p:cNvPicPr>
            <p:nvPr/>
          </p:nvPicPr>
          <p:blipFill>
            <a:blip r:embed="rId4"/>
            <a:stretch>
              <a:fillRect/>
            </a:stretch>
          </p:blipFill>
          <p:spPr>
            <a:xfrm>
              <a:off x="11475501" y="4537061"/>
              <a:ext cx="262151" cy="262151"/>
            </a:xfrm>
            <a:prstGeom prst="rect">
              <a:avLst/>
            </a:prstGeom>
          </p:spPr>
        </p:pic>
        <p:sp>
          <p:nvSpPr>
            <p:cNvPr id="23" name="Oval 22"/>
            <p:cNvSpPr/>
            <p:nvPr/>
          </p:nvSpPr>
          <p:spPr>
            <a:xfrm>
              <a:off x="881995" y="1400555"/>
              <a:ext cx="472664" cy="47266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24" name="Picture 23"/>
            <p:cNvPicPr>
              <a:picLocks noChangeAspect="1"/>
            </p:cNvPicPr>
            <p:nvPr/>
          </p:nvPicPr>
          <p:blipFill>
            <a:blip r:embed="rId5"/>
            <a:stretch>
              <a:fillRect/>
            </a:stretch>
          </p:blipFill>
          <p:spPr>
            <a:xfrm>
              <a:off x="11006068" y="5033773"/>
              <a:ext cx="469433" cy="475529"/>
            </a:xfrm>
            <a:prstGeom prst="rect">
              <a:avLst/>
            </a:prstGeom>
          </p:spPr>
        </p:pic>
        <p:pic>
          <p:nvPicPr>
            <p:cNvPr id="5" name="Picture 4"/>
            <p:cNvPicPr>
              <a:picLocks noChangeAspect="1"/>
            </p:cNvPicPr>
            <p:nvPr/>
          </p:nvPicPr>
          <p:blipFill rotWithShape="1">
            <a:blip r:embed="rId6">
              <a:duotone>
                <a:schemeClr val="accent1">
                  <a:shade val="45000"/>
                  <a:satMod val="135000"/>
                </a:schemeClr>
                <a:prstClr val="white"/>
              </a:duotone>
              <a:extLst>
                <a:ext uri="{28A0092B-C50C-407E-A947-70E740481C1C}">
                  <a14:useLocalDpi xmlns:a14="http://schemas.microsoft.com/office/drawing/2010/main" val="0"/>
                </a:ext>
              </a:extLst>
            </a:blip>
            <a:srcRect l="3610" t="2467" r="5852" b="3284"/>
            <a:stretch/>
          </p:blipFill>
          <p:spPr>
            <a:xfrm>
              <a:off x="8682202" y="1739134"/>
              <a:ext cx="2096288" cy="2860560"/>
            </a:xfrm>
            <a:prstGeom prst="rect">
              <a:avLst/>
            </a:prstGeom>
          </p:spPr>
        </p:pic>
      </p:grpSp>
    </p:spTree>
    <p:extLst>
      <p:ext uri="{BB962C8B-B14F-4D97-AF65-F5344CB8AC3E}">
        <p14:creationId xmlns:p14="http://schemas.microsoft.com/office/powerpoint/2010/main" val="3194255053"/>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hysician selection and training</a:t>
            </a:r>
          </a:p>
        </p:txBody>
      </p:sp>
      <p:sp>
        <p:nvSpPr>
          <p:cNvPr id="3" name="Slide Number Placeholder 2"/>
          <p:cNvSpPr>
            <a:spLocks noGrp="1"/>
          </p:cNvSpPr>
          <p:nvPr>
            <p:ph type="sldNum" sz="quarter" idx="12"/>
          </p:nvPr>
        </p:nvSpPr>
        <p:spPr/>
        <p:txBody>
          <a:bodyPr/>
          <a:lstStyle/>
          <a:p>
            <a:fld id="{DA135043-C596-1A48-8BDA-03EB29A64DF4}" type="slidenum">
              <a:rPr lang="en-US" smtClean="0"/>
              <a:t>5</a:t>
            </a:fld>
            <a:endParaRPr lang="en-US" dirty="0"/>
          </a:p>
        </p:txBody>
      </p:sp>
      <p:sp>
        <p:nvSpPr>
          <p:cNvPr id="6" name="Text Placeholder 5"/>
          <p:cNvSpPr>
            <a:spLocks noGrp="1"/>
          </p:cNvSpPr>
          <p:nvPr>
            <p:ph type="body" sz="quarter" idx="14"/>
          </p:nvPr>
        </p:nvSpPr>
        <p:spPr/>
        <p:txBody>
          <a:bodyPr/>
          <a:lstStyle/>
          <a:p>
            <a:r>
              <a:rPr lang="en-US" dirty="0"/>
              <a:t>Javelin Learning Solutions. (2017). </a:t>
            </a:r>
            <a:r>
              <a:rPr lang="en-US" i="1" dirty="0"/>
              <a:t>Soft skills, hard outcomes: How physicians’ interpersonal skills have a real impact on healthcare.</a:t>
            </a:r>
            <a:r>
              <a:rPr lang="en-US" dirty="0"/>
              <a:t> Retrieved from </a:t>
            </a:r>
            <a:r>
              <a:rPr lang="en-US" u="sng" dirty="0">
                <a:hlinkClick r:id="rId3"/>
              </a:rPr>
              <a:t>https://javelinlearningsolutions.com/avoiding-the-thorny-issues-two/</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04577972"/>
              </p:ext>
            </p:extLst>
          </p:nvPr>
        </p:nvGraphicFramePr>
        <p:xfrm>
          <a:off x="8120378" y="2338560"/>
          <a:ext cx="3474721" cy="2040400"/>
        </p:xfrm>
        <a:graphic>
          <a:graphicData uri="http://schemas.openxmlformats.org/drawingml/2006/table">
            <a:tbl>
              <a:tblPr firstRow="1" bandRow="1">
                <a:tableStyleId>{C083E6E3-FA7D-4D7B-A595-EF9225AFEA82}</a:tableStyleId>
              </a:tblPr>
              <a:tblGrid>
                <a:gridCol w="3474721">
                  <a:extLst>
                    <a:ext uri="{9D8B030D-6E8A-4147-A177-3AD203B41FA5}">
                      <a16:colId xmlns:a16="http://schemas.microsoft.com/office/drawing/2014/main" val="4122795442"/>
                    </a:ext>
                  </a:extLst>
                </a:gridCol>
              </a:tblGrid>
              <a:tr h="2040400">
                <a:tc>
                  <a:txBody>
                    <a:bodyPr/>
                    <a:lstStyle/>
                    <a:p>
                      <a:pPr marL="0" marR="0" lvl="0" indent="0" algn="ctr" defTabSz="1306218" rtl="0" eaLnBrk="1" fontAlgn="auto" latinLnBrk="0" hangingPunct="1">
                        <a:lnSpc>
                          <a:spcPct val="100000"/>
                        </a:lnSpc>
                        <a:spcBef>
                          <a:spcPts val="0"/>
                        </a:spcBef>
                        <a:spcAft>
                          <a:spcPts val="0"/>
                        </a:spcAft>
                        <a:buClrTx/>
                        <a:buSzTx/>
                        <a:buFontTx/>
                        <a:buNone/>
                        <a:tabLst/>
                        <a:defRPr/>
                      </a:pPr>
                      <a:r>
                        <a:rPr lang="en-US" sz="1800" b="0" dirty="0">
                          <a:solidFill>
                            <a:schemeClr val="tx2"/>
                          </a:solidFill>
                        </a:rPr>
                        <a:t>“A path to better outcomes and patient experience can be traced by how much attention physicians pay to cultivating these ‘soft’ yet crucial skills.” </a:t>
                      </a:r>
                    </a:p>
                  </a:txBody>
                  <a:tcPr anchor="ctr">
                    <a:lnL>
                      <a:noFill/>
                    </a:lnL>
                    <a:lnR>
                      <a:noFill/>
                    </a:lnR>
                    <a:lnT w="28575" cap="flat" cmpd="sng" algn="ctr">
                      <a:solidFill>
                        <a:schemeClr val="accent3"/>
                      </a:solidFill>
                      <a:prstDash val="solid"/>
                      <a:round/>
                      <a:headEnd type="none" w="med" len="med"/>
                      <a:tailEnd type="none" w="med" len="med"/>
                    </a:lnT>
                    <a:lnB w="28575"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4359542"/>
                  </a:ext>
                </a:extLst>
              </a:tr>
            </a:tbl>
          </a:graphicData>
        </a:graphic>
      </p:graphicFrame>
      <p:graphicFrame>
        <p:nvGraphicFramePr>
          <p:cNvPr id="8" name="Diagram 7"/>
          <p:cNvGraphicFramePr/>
          <p:nvPr>
            <p:extLst>
              <p:ext uri="{D42A27DB-BD31-4B8C-83A1-F6EECF244321}">
                <p14:modId xmlns:p14="http://schemas.microsoft.com/office/powerpoint/2010/main" val="1672148946"/>
              </p:ext>
            </p:extLst>
          </p:nvPr>
        </p:nvGraphicFramePr>
        <p:xfrm>
          <a:off x="518160" y="894960"/>
          <a:ext cx="693928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86263" y="1960314"/>
            <a:ext cx="600166" cy="598875"/>
          </a:xfrm>
          <a:prstGeom prst="rect">
            <a:avLst/>
          </a:prstGeom>
        </p:spPr>
      </p:pic>
      <p:pic>
        <p:nvPicPr>
          <p:cNvPr id="10" name="Picture 9"/>
          <p:cNvPicPr>
            <a:picLocks noChangeAspect="1"/>
          </p:cNvPicPr>
          <p:nvPr/>
        </p:nvPicPr>
        <p:blipFill>
          <a:blip r:embed="rId10"/>
          <a:stretch>
            <a:fillRect/>
          </a:stretch>
        </p:blipFill>
        <p:spPr>
          <a:xfrm rot="10800000">
            <a:off x="9591507" y="4159746"/>
            <a:ext cx="597460" cy="597460"/>
          </a:xfrm>
          <a:prstGeom prst="rect">
            <a:avLst/>
          </a:prstGeom>
        </p:spPr>
      </p:pic>
      <p:pic>
        <p:nvPicPr>
          <p:cNvPr id="11" name="Picture 10"/>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10436680" y="141306"/>
            <a:ext cx="1590160" cy="1818033"/>
          </a:xfrm>
          <a:prstGeom prst="rect">
            <a:avLst/>
          </a:prstGeom>
        </p:spPr>
      </p:pic>
    </p:spTree>
    <p:extLst>
      <p:ext uri="{BB962C8B-B14F-4D97-AF65-F5344CB8AC3E}">
        <p14:creationId xmlns:p14="http://schemas.microsoft.com/office/powerpoint/2010/main" val="8219548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unication</a:t>
            </a:r>
          </a:p>
        </p:txBody>
      </p:sp>
    </p:spTree>
    <p:extLst>
      <p:ext uri="{BB962C8B-B14F-4D97-AF65-F5344CB8AC3E}">
        <p14:creationId xmlns:p14="http://schemas.microsoft.com/office/powerpoint/2010/main" val="2348010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mportance of communication</a:t>
            </a:r>
          </a:p>
        </p:txBody>
      </p:sp>
      <p:sp>
        <p:nvSpPr>
          <p:cNvPr id="3" name="Slide Number Placeholder 2"/>
          <p:cNvSpPr>
            <a:spLocks noGrp="1"/>
          </p:cNvSpPr>
          <p:nvPr>
            <p:ph type="sldNum" sz="quarter" idx="12"/>
          </p:nvPr>
        </p:nvSpPr>
        <p:spPr/>
        <p:txBody>
          <a:bodyPr/>
          <a:lstStyle/>
          <a:p>
            <a:fld id="{DA135043-C596-1A48-8BDA-03EB29A64DF4}" type="slidenum">
              <a:rPr lang="en-US" smtClean="0"/>
              <a:t>7</a:t>
            </a:fld>
            <a:endParaRPr lang="en-US" dirty="0"/>
          </a:p>
        </p:txBody>
      </p:sp>
      <p:sp>
        <p:nvSpPr>
          <p:cNvPr id="5" name="Text Placeholder 4"/>
          <p:cNvSpPr>
            <a:spLocks noGrp="1"/>
          </p:cNvSpPr>
          <p:nvPr>
            <p:ph type="body" sz="quarter" idx="14"/>
          </p:nvPr>
        </p:nvSpPr>
        <p:spPr/>
        <p:txBody>
          <a:bodyPr/>
          <a:lstStyle/>
          <a:p>
            <a:r>
              <a:rPr lang="en-US" dirty="0" err="1"/>
              <a:t>MedPro</a:t>
            </a:r>
            <a:r>
              <a:rPr lang="en-US" dirty="0"/>
              <a:t> Group. (2023). </a:t>
            </a:r>
            <a:r>
              <a:rPr lang="en-US" i="1" dirty="0"/>
              <a:t>Claims data snapshot: A ten year overview of medical cases.</a:t>
            </a:r>
            <a:r>
              <a:rPr lang="en-US" dirty="0"/>
              <a:t> Retrieved from </a:t>
            </a:r>
            <a:r>
              <a:rPr lang="en-US" dirty="0">
                <a:hlinkClick r:id="rId3"/>
              </a:rPr>
              <a:t>https://www.medpro.com/documents/10502/5086245/Ten+Year+Overview_Data+Insight_2023.pdf</a:t>
            </a:r>
            <a:r>
              <a:rPr lang="en-US" dirty="0"/>
              <a:t> ; Phillips, K. A., </a:t>
            </a:r>
            <a:r>
              <a:rPr lang="en-US" dirty="0" err="1"/>
              <a:t>Ospina</a:t>
            </a:r>
            <a:r>
              <a:rPr lang="en-US" dirty="0"/>
              <a:t>, N. S., &amp; </a:t>
            </a:r>
            <a:r>
              <a:rPr lang="en-US" dirty="0" err="1"/>
              <a:t>Montori</a:t>
            </a:r>
            <a:r>
              <a:rPr lang="en-US" dirty="0"/>
              <a:t>, V. M. (2019). Physicians interrupting patients. </a:t>
            </a:r>
            <a:r>
              <a:rPr lang="en-US" i="1" dirty="0"/>
              <a:t>Journal of General Internal Medicine, 34</a:t>
            </a:r>
            <a:r>
              <a:rPr lang="en-US" dirty="0"/>
              <a:t>(10), 1,965. </a:t>
            </a:r>
            <a:r>
              <a:rPr lang="en-US" dirty="0">
                <a:hlinkClick r:id="rId4"/>
              </a:rPr>
              <a:t>https://doi.org/10.1007/s11606-019-05247-5</a:t>
            </a:r>
            <a:r>
              <a:rPr lang="en-US" dirty="0"/>
              <a:t>; Phillips, K. A., &amp; </a:t>
            </a:r>
            <a:r>
              <a:rPr lang="en-US" dirty="0" err="1"/>
              <a:t>Ospina</a:t>
            </a:r>
            <a:r>
              <a:rPr lang="en-US" dirty="0"/>
              <a:t>, N. S. (2017). Physicians interrupting patients. </a:t>
            </a:r>
            <a:r>
              <a:rPr lang="en-US" i="1" dirty="0"/>
              <a:t>Journal of the American Medical Association, 318</a:t>
            </a:r>
            <a:r>
              <a:rPr lang="en-US" dirty="0"/>
              <a:t>(1):93–94. doi:10.1001/jama.2017.6493 </a:t>
            </a:r>
          </a:p>
        </p:txBody>
      </p:sp>
      <p:graphicFrame>
        <p:nvGraphicFramePr>
          <p:cNvPr id="6" name="Diagram 5"/>
          <p:cNvGraphicFramePr/>
          <p:nvPr>
            <p:extLst>
              <p:ext uri="{D42A27DB-BD31-4B8C-83A1-F6EECF244321}">
                <p14:modId xmlns:p14="http://schemas.microsoft.com/office/powerpoint/2010/main" val="251955711"/>
              </p:ext>
            </p:extLst>
          </p:nvPr>
        </p:nvGraphicFramePr>
        <p:xfrm>
          <a:off x="599661" y="1047173"/>
          <a:ext cx="11138452" cy="533193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7" name="Picture 6"/>
          <p:cNvPicPr>
            <a:picLocks noChangeAspect="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t="16290" b="35949"/>
          <a:stretch/>
        </p:blipFill>
        <p:spPr>
          <a:xfrm>
            <a:off x="6324600" y="163109"/>
            <a:ext cx="5867400" cy="840696"/>
          </a:xfrm>
          <a:prstGeom prst="rect">
            <a:avLst/>
          </a:prstGeom>
        </p:spPr>
      </p:pic>
    </p:spTree>
    <p:extLst>
      <p:ext uri="{BB962C8B-B14F-4D97-AF65-F5344CB8AC3E}">
        <p14:creationId xmlns:p14="http://schemas.microsoft.com/office/powerpoint/2010/main" val="3996592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804BD52-25CF-234B-8773-C64338D48DFC}"/>
              </a:ext>
            </a:extLst>
          </p:cNvPr>
          <p:cNvSpPr>
            <a:spLocks noGrp="1"/>
          </p:cNvSpPr>
          <p:nvPr>
            <p:ph type="body" sz="quarter" idx="10"/>
          </p:nvPr>
        </p:nvSpPr>
        <p:spPr>
          <a:xfrm>
            <a:off x="509046" y="864050"/>
            <a:ext cx="10958287" cy="1180409"/>
          </a:xfrm>
        </p:spPr>
        <p:txBody>
          <a:bodyPr>
            <a:normAutofit lnSpcReduction="10000"/>
          </a:bodyPr>
          <a:lstStyle/>
          <a:p>
            <a:pPr algn="l">
              <a:lnSpc>
                <a:spcPct val="100000"/>
              </a:lnSpc>
              <a:spcAft>
                <a:spcPts val="1200"/>
              </a:spcAft>
            </a:pPr>
            <a:r>
              <a:rPr lang="en-US" b="0" dirty="0"/>
              <a:t>Cases involving insufficient documentation and/or failure to follow administrative policies/procedures close with indemnity payments most often. </a:t>
            </a:r>
          </a:p>
          <a:p>
            <a:pPr algn="l">
              <a:lnSpc>
                <a:spcPct val="100000"/>
              </a:lnSpc>
              <a:spcAft>
                <a:spcPts val="1200"/>
              </a:spcAft>
            </a:pPr>
            <a:r>
              <a:rPr lang="en-US" b="0" dirty="0"/>
              <a:t>Defense is made more difficult when documentation of events/care provided is sub-par, and it is difficult to defend a failure to follow established policies/procedures.  </a:t>
            </a:r>
          </a:p>
        </p:txBody>
      </p:sp>
      <p:sp>
        <p:nvSpPr>
          <p:cNvPr id="2" name="Title 1">
            <a:extLst>
              <a:ext uri="{FF2B5EF4-FFF2-40B4-BE49-F238E27FC236}">
                <a16:creationId xmlns:a16="http://schemas.microsoft.com/office/drawing/2014/main" id="{A9D411BB-AF9F-784E-9BB7-10794D0A7C13}"/>
              </a:ext>
            </a:extLst>
          </p:cNvPr>
          <p:cNvSpPr>
            <a:spLocks noGrp="1"/>
          </p:cNvSpPr>
          <p:nvPr>
            <p:ph type="title"/>
          </p:nvPr>
        </p:nvSpPr>
        <p:spPr/>
        <p:txBody>
          <a:bodyPr/>
          <a:lstStyle/>
          <a:p>
            <a:r>
              <a:rPr lang="en-US" dirty="0"/>
              <a:t>Most common contributing factors* across all cases</a:t>
            </a:r>
          </a:p>
        </p:txBody>
      </p:sp>
      <p:sp>
        <p:nvSpPr>
          <p:cNvPr id="4" name="Slide Number Placeholder 3">
            <a:extLst>
              <a:ext uri="{FF2B5EF4-FFF2-40B4-BE49-F238E27FC236}">
                <a16:creationId xmlns:a16="http://schemas.microsoft.com/office/drawing/2014/main" id="{C812E6E1-F0DE-4E9B-A48E-814077B043A9}"/>
              </a:ext>
            </a:extLst>
          </p:cNvPr>
          <p:cNvSpPr>
            <a:spLocks noGrp="1"/>
          </p:cNvSpPr>
          <p:nvPr>
            <p:ph type="sldNum" sz="quarter" idx="14"/>
          </p:nvPr>
        </p:nvSpPr>
        <p:spPr/>
        <p:txBody>
          <a:bodyPr/>
          <a:lstStyle/>
          <a:p>
            <a:fld id="{DA135043-C596-1A48-8BDA-03EB29A64DF4}" type="slidenum">
              <a:rPr lang="en-US"/>
              <a:t>8</a:t>
            </a:fld>
            <a:endParaRPr lang="en-US" dirty="0"/>
          </a:p>
        </p:txBody>
      </p:sp>
      <p:sp>
        <p:nvSpPr>
          <p:cNvPr id="8" name="Text Placeholder 7">
            <a:extLst>
              <a:ext uri="{FF2B5EF4-FFF2-40B4-BE49-F238E27FC236}">
                <a16:creationId xmlns:a16="http://schemas.microsoft.com/office/drawing/2014/main" id="{1346D10F-4016-E44A-A66F-92CB3252EAE7}"/>
              </a:ext>
            </a:extLst>
          </p:cNvPr>
          <p:cNvSpPr>
            <a:spLocks noGrp="1"/>
          </p:cNvSpPr>
          <p:nvPr>
            <p:ph type="body" sz="quarter" idx="15"/>
          </p:nvPr>
        </p:nvSpPr>
        <p:spPr/>
        <p:txBody>
          <a:bodyPr/>
          <a:lstStyle/>
          <a:p>
            <a:r>
              <a:rPr lang="en-US" dirty="0"/>
              <a:t>MedPro Group + MLMIC cases opened 2012-2021 (N=22,625); More than one factor per case, therefore totals &gt;100%; *Environmental contributing factor (overall just 1% of cases reflect an Environmental factor, which also includes building and weather-related safety/security issues). Retrieved from: </a:t>
            </a:r>
            <a:r>
              <a:rPr lang="en-US" dirty="0">
                <a:hlinkClick r:id="rId3"/>
              </a:rPr>
              <a:t>https://www.medpro.com/documents/10502/5086245/Ten+Year+Overview_Data+Insight_2023.pdf</a:t>
            </a:r>
            <a:r>
              <a:rPr lang="en-US" dirty="0"/>
              <a:t> </a:t>
            </a:r>
          </a:p>
        </p:txBody>
      </p:sp>
      <p:graphicFrame>
        <p:nvGraphicFramePr>
          <p:cNvPr id="9" name="Chart 8"/>
          <p:cNvGraphicFramePr/>
          <p:nvPr>
            <p:extLst>
              <p:ext uri="{D42A27DB-BD31-4B8C-83A1-F6EECF244321}">
                <p14:modId xmlns:p14="http://schemas.microsoft.com/office/powerpoint/2010/main" val="964708485"/>
              </p:ext>
            </p:extLst>
          </p:nvPr>
        </p:nvGraphicFramePr>
        <p:xfrm>
          <a:off x="533766" y="2057460"/>
          <a:ext cx="11306300" cy="416356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542115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597152" y="0"/>
            <a:ext cx="8229600" cy="676656"/>
          </a:xfrm>
          <a:prstGeom prst="rect">
            <a:avLst/>
          </a:prstGeom>
        </p:spPr>
        <p:txBody>
          <a:bodyPr vert="horz" lIns="91440" tIns="45720" rIns="91440" bIns="45720" rtlCol="0" anchor="ctr">
            <a:noAutofit/>
          </a:bodyPr>
          <a:lstStyle>
            <a:lvl1pPr algn="l" defTabSz="457200" rtl="0" eaLnBrk="1" latinLnBrk="0" hangingPunct="1">
              <a:spcBef>
                <a:spcPct val="0"/>
              </a:spcBef>
              <a:buNone/>
              <a:defRPr sz="2700" kern="1200">
                <a:solidFill>
                  <a:schemeClr val="bg1"/>
                </a:solidFill>
                <a:latin typeface="Tahoma"/>
                <a:ea typeface="+mj-ea"/>
                <a:cs typeface="Tahoma"/>
              </a:defRPr>
            </a:lvl1pPr>
          </a:lstStyle>
          <a:p>
            <a:r>
              <a:rPr lang="en-US" dirty="0">
                <a:latin typeface="Arial" panose="020B0604020202020204" pitchFamily="34" charset="0"/>
              </a:rPr>
              <a:t>Informed consent: communication breakdown</a:t>
            </a:r>
          </a:p>
        </p:txBody>
      </p:sp>
      <p:sp>
        <p:nvSpPr>
          <p:cNvPr id="4" name="Title 3"/>
          <p:cNvSpPr>
            <a:spLocks noGrp="1"/>
          </p:cNvSpPr>
          <p:nvPr>
            <p:ph type="title"/>
          </p:nvPr>
        </p:nvSpPr>
        <p:spPr/>
        <p:txBody>
          <a:bodyPr/>
          <a:lstStyle/>
          <a:p>
            <a:r>
              <a:rPr lang="en-US" dirty="0"/>
              <a:t>Provider–provider and provider–patient communication issues</a:t>
            </a:r>
          </a:p>
        </p:txBody>
      </p:sp>
      <p:sp>
        <p:nvSpPr>
          <p:cNvPr id="10" name="Text Placeholder 9"/>
          <p:cNvSpPr>
            <a:spLocks noGrp="1"/>
          </p:cNvSpPr>
          <p:nvPr>
            <p:ph type="body" sz="quarter" idx="14"/>
          </p:nvPr>
        </p:nvSpPr>
        <p:spPr/>
        <p:txBody>
          <a:bodyPr/>
          <a:lstStyle/>
          <a:p>
            <a:r>
              <a:rPr lang="en-US" dirty="0"/>
              <a:t>CRICO Strategies. (2015). </a:t>
            </a:r>
            <a:r>
              <a:rPr lang="en-US" i="1" dirty="0"/>
              <a:t>Malpractice risks in communication failures: 2015 annual benchmarking report.</a:t>
            </a:r>
            <a:r>
              <a:rPr lang="en-US" dirty="0"/>
              <a:t> Retrieved from </a:t>
            </a:r>
            <a:r>
              <a:rPr lang="en-US" dirty="0">
                <a:hlinkClick r:id="rId3"/>
              </a:rPr>
              <a:t>www.rmf.harvard.edu/Malpractice-Data/Annual-Benchmark-Reports</a:t>
            </a:r>
            <a:r>
              <a:rPr lang="en-US" dirty="0"/>
              <a:t> </a:t>
            </a: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l="7178" t="20754" r="7318" b="9005"/>
          <a:stretch/>
        </p:blipFill>
        <p:spPr>
          <a:xfrm>
            <a:off x="2238174" y="1150070"/>
            <a:ext cx="7588578" cy="4817097"/>
          </a:xfrm>
          <a:prstGeom prst="rect">
            <a:avLst/>
          </a:prstGeom>
        </p:spPr>
      </p:pic>
    </p:spTree>
    <p:extLst>
      <p:ext uri="{BB962C8B-B14F-4D97-AF65-F5344CB8AC3E}">
        <p14:creationId xmlns:p14="http://schemas.microsoft.com/office/powerpoint/2010/main" val="70453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GUID" val="30419f89-7a7f-407f-a6b8-db6a636f8ac9"/>
  <p:tag name="MIO_EKGUID" val="b13e6213-9344-4cc6-b026-3780be205bdd"/>
  <p:tag name="MIO_UPDATE" val="True"/>
  <p:tag name="MIO_VERSION" val="22.06.2022 18:11:55"/>
  <p:tag name="MIO_DBID" val="0381e0d7-fc53-471d-b0c4-7a7aba4970bb"/>
  <p:tag name="MIO_LASTDOWNLOADED" val="07.07.2022 07:22:00"/>
  <p:tag name="MIO_OBJECTNAME" val="Speaker Bio (5)"/>
  <p:tag name="MIO_LASTEDITORNAME" val="Laura Cascella"/>
</p:tagLst>
</file>

<file path=ppt/tags/tag14.xml><?xml version="1.0" encoding="utf-8"?>
<p:tagLst xmlns:a="http://schemas.openxmlformats.org/drawingml/2006/main" xmlns:r="http://schemas.openxmlformats.org/officeDocument/2006/relationships" xmlns:p="http://schemas.openxmlformats.org/presentationml/2006/main">
  <p:tag name="MIO_GUID" val="c126097f-731c-48a4-a030-f3312bb459c2"/>
  <p:tag name="MIO_EKGUID" val="392c84e1-0814-411e-9db1-b1f793629154"/>
  <p:tag name="MIO_UPDATE" val="True"/>
  <p:tag name="MIO_VERSION" val="08.09.2021 21:02:33"/>
  <p:tag name="MIO_DBID" val="0381E0D7-FC53-471D-B0C4-7A7ABA4970BB"/>
  <p:tag name="MIO_LASTDOWNLOADED" val="03.03.2022 15:11:23.504"/>
  <p:tag name="MIO_OBJECTNAME" val="Definition"/>
  <p:tag name="MIO_LASTEDITORNAME" val="Laura Cascella"/>
</p:tagLst>
</file>

<file path=ppt/tags/tag15.xml><?xml version="1.0" encoding="utf-8"?>
<p:tagLst xmlns:a="http://schemas.openxmlformats.org/drawingml/2006/main" xmlns:r="http://schemas.openxmlformats.org/officeDocument/2006/relationships" xmlns:p="http://schemas.openxmlformats.org/presentationml/2006/main">
  <p:tag name="MIO_GUID" val="4b842678-eebf-4c1e-aa5a-515f0ee0a3f6"/>
  <p:tag name="MIO_EKGUID" val="f229bb9e-4364-46a6-939b-ebc734d493b6"/>
  <p:tag name="MIO_UPDATE" val="True"/>
  <p:tag name="MIO_VERSION" val="08.09.2021 21:02:33"/>
  <p:tag name="MIO_DBID" val="0381E0D7-FC53-471D-B0C4-7A7ABA4970BB"/>
  <p:tag name="MIO_LASTDOWNLOADED" val="03.03.2022 16:09:43.241"/>
  <p:tag name="MIO_OBJECTNAME" val="Behaviors"/>
  <p:tag name="MIO_LASTEDITORNAME" val="Laura Cascella"/>
</p:tagLst>
</file>

<file path=ppt/tags/tag16.xml><?xml version="1.0" encoding="utf-8"?>
<p:tagLst xmlns:a="http://schemas.openxmlformats.org/drawingml/2006/main" xmlns:r="http://schemas.openxmlformats.org/officeDocument/2006/relationships" xmlns:p="http://schemas.openxmlformats.org/presentationml/2006/main">
  <p:tag name="MIO_GUID" val="c37c2d0d-3298-4678-9064-0bc49d33fbbd"/>
  <p:tag name="MIO_EKGUID" val="08813178-ced6-4158-8c70-bb41503368bd"/>
  <p:tag name="MIO_UPDATE" val="True"/>
  <p:tag name="MIO_VERSION" val="08.09.2021 21:02:33"/>
  <p:tag name="MIO_DBID" val="0381E0D7-FC53-471D-B0C4-7A7ABA4970BB"/>
  <p:tag name="MIO_LASTDOWNLOADED" val="03.03.2022 16:14:38.652"/>
  <p:tag name="MIO_OBJECTNAME" val="Disruptive behaviors"/>
  <p:tag name="MIO_LASTEDITORNAME" val="Laura Cascella"/>
</p:tagLst>
</file>

<file path=ppt/tags/tag17.xml><?xml version="1.0" encoding="utf-8"?>
<p:tagLst xmlns:a="http://schemas.openxmlformats.org/drawingml/2006/main" xmlns:r="http://schemas.openxmlformats.org/officeDocument/2006/relationships" xmlns:p="http://schemas.openxmlformats.org/presentationml/2006/main">
  <p:tag name="MIO_GUID" val="9209732b-153e-4c89-bed5-e3cd411a8fc6"/>
  <p:tag name="MIO_EKGUID" val="eb9fea36-37d0-4c7e-a498-65c34cbdcf65"/>
  <p:tag name="MIO_UPDATE" val="True"/>
  <p:tag name="MIO_VERSION" val="08.09.2021 21:02:34"/>
  <p:tag name="MIO_DBID" val="0381E0D7-FC53-471D-B0C4-7A7ABA4970BB"/>
  <p:tag name="MIO_LASTDOWNLOADED" val="03.03.2022 16:47:25.667"/>
  <p:tag name="MIO_OBJECTNAME" val="Prevalence and magnitude (continued)"/>
  <p:tag name="MIO_LASTEDITORNAME" val="Laura Cascella"/>
</p:tagLst>
</file>

<file path=ppt/tags/tag18.xml><?xml version="1.0" encoding="utf-8"?>
<p:tagLst xmlns:a="http://schemas.openxmlformats.org/drawingml/2006/main" xmlns:r="http://schemas.openxmlformats.org/officeDocument/2006/relationships" xmlns:p="http://schemas.openxmlformats.org/presentationml/2006/main">
  <p:tag name="MIO_GUID" val="7da1884a-2740-472e-bfb2-72f09b8fc873"/>
  <p:tag name="MIO_EKGUID" val="db6f4d60-6621-4040-8e22-f4ccb0d86c7d"/>
  <p:tag name="MIO_UPDATE" val="True"/>
  <p:tag name="MIO_VERSION" val="08.09.2021 21:02:35"/>
  <p:tag name="MIO_DBID" val="0381E0D7-FC53-471D-B0C4-7A7ABA4970BB"/>
  <p:tag name="MIO_LASTDOWNLOADED" val="03.03.2022 17:49:17.030"/>
  <p:tag name="MIO_OBJECTNAME" val="Potential indicators of disruptive behavior"/>
  <p:tag name="MIO_LASTEDITORNAME" val="Laura Cascella"/>
</p:tagLst>
</file>

<file path=ppt/tags/tag19.xml><?xml version="1.0" encoding="utf-8"?>
<p:tagLst xmlns:a="http://schemas.openxmlformats.org/drawingml/2006/main" xmlns:r="http://schemas.openxmlformats.org/officeDocument/2006/relationships" xmlns:p="http://schemas.openxmlformats.org/presentationml/2006/main">
  <p:tag name="MIO_GUID" val="bae57d6b-bc97-46d9-9848-085b025ee9f1"/>
  <p:tag name="MIO_EKGUID" val="2149e0d3-666d-4c05-8633-7f60370e575b"/>
  <p:tag name="MIO_UPDATE" val="True"/>
  <p:tag name="MIO_VERSION" val="08.09.2021 21:02:34"/>
  <p:tag name="MIO_DBID" val="0381E0D7-FC53-471D-B0C4-7A7ABA4970BB"/>
  <p:tag name="MIO_LASTDOWNLOADED" val="03.03.2022 17:38:50.532"/>
  <p:tag name="MIO_OBJECTNAME" val="Contributing factors to disruptive behavior"/>
  <p:tag name="MIO_LASTEDITORNAME" val="Laura Cascella"/>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False"/>
  <p:tag name="MIO_SHOW_FOOTER" val="False"/>
  <p:tag name="MIO_SHOW_PAGENUMBER" val="True"/>
  <p:tag name="MIO_AVOID_BLANK_LAYOUT" val="True"/>
  <p:tag name="MIO_CD_LAYOUT_VALID_AREA" val="False"/>
  <p:tag name="MIO_NUMBER_OF_VALID_LAYOUTS" val="17"/>
  <p:tag name="MIO_HDS" val="True"/>
  <p:tag name="MIO_SKIPVERSION" val="01.01.0001 00:00:00"/>
  <p:tag name="MIO_EKGUID" val="2b23c99a-e82d-44a5-8fc4-fcfd64ccfb14"/>
  <p:tag name="MIO_UPDATE" val="True"/>
  <p:tag name="MIO_VERSION" val="08.03.2021 20:38:43"/>
  <p:tag name="MIO_DBID" val="0381E0D7-FC53-471D-B0C4-7A7ABA4970BB"/>
  <p:tag name="MIO_LASTDOWNLOADED" val="07.07.2021 16:53:41"/>
  <p:tag name="MIO_OBJECTNAME" val="MPG Master"/>
  <p:tag name="MIO_LASTEDITORNAME" val="johan "/>
  <p:tag name="MIO_CDID" val="d30371fb-bd2b-4816-a0ce-bd6a1479ab6b"/>
</p:tagLst>
</file>

<file path=ppt/tags/tag20.xml><?xml version="1.0" encoding="utf-8"?>
<p:tagLst xmlns:a="http://schemas.openxmlformats.org/drawingml/2006/main" xmlns:r="http://schemas.openxmlformats.org/officeDocument/2006/relationships" xmlns:p="http://schemas.openxmlformats.org/presentationml/2006/main">
  <p:tag name="MIO_GUID" val="462bf09d-49f3-4fb5-a563-77f55bf51200"/>
  <p:tag name="MIO_EKGUID" val="753bd92b-a269-42a2-94b6-38abacd156c9"/>
  <p:tag name="MIO_UPDATE" val="True"/>
  <p:tag name="MIO_VERSION" val="08.09.2021 21:02:34"/>
  <p:tag name="MIO_DBID" val="0381E0D7-FC53-471D-B0C4-7A7ABA4970BB"/>
  <p:tag name="MIO_LASTDOWNLOADED" val="03.03.2022 17:54:51.233"/>
  <p:tag name="MIO_OBJECTNAME" val="Triggers contributing to disruptive behavior"/>
  <p:tag name="MIO_LASTEDITORNAME" val="Laura Cascella"/>
</p:tagLst>
</file>

<file path=ppt/tags/tag21.xml><?xml version="1.0" encoding="utf-8"?>
<p:tagLst xmlns:a="http://schemas.openxmlformats.org/drawingml/2006/main" xmlns:r="http://schemas.openxmlformats.org/officeDocument/2006/relationships" xmlns:p="http://schemas.openxmlformats.org/presentationml/2006/main">
  <p:tag name="MIO_GUID" val="891df5c1-c37d-4258-b69a-9f9718550326"/>
  <p:tag name="MIO_EKGUID" val="d5dfd2b6-554b-4fbb-8e07-3c914670892d"/>
  <p:tag name="MIO_UPDATE" val="True"/>
  <p:tag name="MIO_VERSION" val="08.09.2021 21:02:34"/>
  <p:tag name="MIO_DBID" val="0381E0D7-FC53-471D-B0C4-7A7ABA4970BB"/>
  <p:tag name="MIO_LASTDOWNLOADED" val="03.03.2022 18:03:27.104"/>
  <p:tag name="MIO_OBJECTNAME" val="Impact of disruptive behavior"/>
  <p:tag name="MIO_LASTEDITORNAME" val="Laura Cascella"/>
</p:tagLst>
</file>

<file path=ppt/tags/tag22.xml><?xml version="1.0" encoding="utf-8"?>
<p:tagLst xmlns:a="http://schemas.openxmlformats.org/drawingml/2006/main" xmlns:r="http://schemas.openxmlformats.org/officeDocument/2006/relationships" xmlns:p="http://schemas.openxmlformats.org/presentationml/2006/main">
  <p:tag name="MIO_GUID" val="d734ce9d-8da4-4bfa-998c-608005c183b0"/>
  <p:tag name="MIO_EKGUID" val="2fb69360-0495-48dd-bae8-98ec725269ce"/>
  <p:tag name="MIO_UPDATE" val="True"/>
  <p:tag name="MIO_VERSION" val="08.09.2021 21:02:34"/>
  <p:tag name="MIO_DBID" val="0381E0D7-FC53-471D-B0C4-7A7ABA4970BB"/>
  <p:tag name="MIO_LASTDOWNLOADED" val="03.03.2022 18:09:38.078"/>
  <p:tag name="MIO_OBJECTNAME" val="Medical errors"/>
  <p:tag name="MIO_LASTEDITORNAME" val="Laura Cascella"/>
</p:tagLst>
</file>

<file path=ppt/tags/tag23.xml><?xml version="1.0" encoding="utf-8"?>
<p:tagLst xmlns:a="http://schemas.openxmlformats.org/drawingml/2006/main" xmlns:r="http://schemas.openxmlformats.org/officeDocument/2006/relationships" xmlns:p="http://schemas.openxmlformats.org/presentationml/2006/main">
  <p:tag name="MIO_GUID" val="99f68179-2596-4a5e-a8c8-7867661023e9"/>
  <p:tag name="MIO_EKGUID" val="1af7e01d-7d9a-4b5b-bddd-880092d8a4cf"/>
  <p:tag name="MIO_UPDATE" val="True"/>
  <p:tag name="MIO_VERSION" val="08.09.2021 21:02:34"/>
  <p:tag name="MIO_DBID" val="0381E0D7-FC53-471D-B0C4-7A7ABA4970BB"/>
  <p:tag name="MIO_LASTDOWNLOADED" val="03.03.2022 18:13:42.229"/>
  <p:tag name="MIO_OBJECTNAME" val="Decreases in patient satisfaction"/>
  <p:tag name="MIO_LASTEDITORNAME" val="Laura Cascella"/>
</p:tagLst>
</file>

<file path=ppt/tags/tag24.xml><?xml version="1.0" encoding="utf-8"?>
<p:tagLst xmlns:a="http://schemas.openxmlformats.org/drawingml/2006/main" xmlns:r="http://schemas.openxmlformats.org/officeDocument/2006/relationships" xmlns:p="http://schemas.openxmlformats.org/presentationml/2006/main">
  <p:tag name="MIO_GUID" val="063f80bd-163a-4bfa-935f-d103f533451f"/>
  <p:tag name="MIO_EKGUID" val="aa4220c2-2069-42dc-9e03-765412572076"/>
  <p:tag name="MIO_UPDATE" val="True"/>
  <p:tag name="MIO_VERSION" val="08.09.2021 21:02:35"/>
  <p:tag name="MIO_DBID" val="0381E0D7-FC53-471D-B0C4-7A7ABA4970BB"/>
  <p:tag name="MIO_LASTDOWNLOADED" val="03.03.2022 18:22:48.530"/>
  <p:tag name="MIO_OBJECTNAME" val="Empowering to report"/>
  <p:tag name="MIO_LASTEDITORNAME" val="Laura Cascella"/>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MPG Theme">
  <a:themeElements>
    <a:clrScheme name="Custom 1">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B2F5"/>
      </a:hlink>
      <a:folHlink>
        <a:srgbClr val="002F6B"/>
      </a:folHlink>
    </a:clrScheme>
    <a:fontScheme name="MedPro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defRPr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lnSpc>
            <a:spcPct val="90000"/>
          </a:lnSpc>
          <a:defRPr sz="1800" dirty="0" err="1">
            <a:solidFill>
              <a:schemeClr val="tx2"/>
            </a:solidFill>
          </a:defRPr>
        </a:defPPr>
      </a:lstStyle>
    </a:txDef>
  </a:objectDefaults>
  <a:extraClrSchemeLst/>
  <a:custClrLst>
    <a:custClr name="Turquoise 1">
      <a:srgbClr val="21D3FF"/>
    </a:custClr>
    <a:custClr name="Green 1">
      <a:srgbClr val="A1EB00"/>
    </a:custClr>
    <a:custClr name="Dark Blue 1">
      <a:srgbClr val="002A88"/>
    </a:custClr>
    <a:custClr name="Light Blue 1">
      <a:srgbClr val="005EC0"/>
    </a:custClr>
    <a:custClr name="Red 1">
      <a:srgbClr val="FF6A3E"/>
    </a:custClr>
    <a:custClr name="Purple 1">
      <a:srgbClr val="A367E0"/>
    </a:custClr>
    <a:custClr name="Blue Gray 1">
      <a:srgbClr val="C9DCE6"/>
    </a:custClr>
    <a:custClr name="BLANK">
      <a:srgbClr val="FFFFFF"/>
    </a:custClr>
    <a:custClr name="BLANK">
      <a:srgbClr val="FFFFFF"/>
    </a:custClr>
    <a:custClr name="BLANK">
      <a:srgbClr val="FFFFFF"/>
    </a:custClr>
    <a:custClr name="Custom Color 11">
      <a:srgbClr val="0373FF"/>
    </a:custClr>
    <a:custClr name="Green 2">
      <a:srgbClr val="15A144"/>
    </a:custClr>
    <a:custClr name="Dark Blue 2">
      <a:srgbClr val="04003C"/>
    </a:custClr>
    <a:custClr name="LIght Blue 2">
      <a:srgbClr val="02205F"/>
    </a:custClr>
    <a:custClr name="Red 2">
      <a:srgbClr val="EE2361"/>
    </a:custClr>
    <a:custClr name="Purple 2">
      <a:srgbClr val="430088"/>
    </a:custClr>
    <a:custClr name="Blue Gray 2">
      <a:srgbClr val="427B8F"/>
    </a:custClr>
  </a:custClrLst>
  <a:extLst>
    <a:ext uri="{05A4C25C-085E-4340-85A3-A5531E510DB2}">
      <thm15:themeFamily xmlns:thm15="http://schemas.microsoft.com/office/thememl/2012/main" name="Presentation4" id="{6E849842-F7CB-43FF-848A-868853056BDB}" vid="{E8B3603F-6E47-4CA0-A53C-E7E9632338E6}"/>
    </a:ext>
  </a:extLst>
</a:theme>
</file>

<file path=ppt/theme/theme2.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932</TotalTime>
  <Words>4080</Words>
  <Application>Microsoft Office PowerPoint</Application>
  <PresentationFormat>Widescreen</PresentationFormat>
  <Paragraphs>419</Paragraphs>
  <Slides>42</Slides>
  <Notes>4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2</vt:i4>
      </vt:variant>
    </vt:vector>
  </HeadingPairs>
  <TitlesOfParts>
    <vt:vector size="48" baseType="lpstr">
      <vt:lpstr>Arial</vt:lpstr>
      <vt:lpstr>Symbol</vt:lpstr>
      <vt:lpstr>Tahoma</vt:lpstr>
      <vt:lpstr>Trebuchet MS</vt:lpstr>
      <vt:lpstr>Wingdings</vt:lpstr>
      <vt:lpstr>MPG Theme</vt:lpstr>
      <vt:lpstr>The Impact of Soft Skills on  the Prevention of Medical Malpractice</vt:lpstr>
      <vt:lpstr>Speaker bio</vt:lpstr>
      <vt:lpstr>Objectives</vt:lpstr>
      <vt:lpstr>Definition of soft skills</vt:lpstr>
      <vt:lpstr>Physician selection and training</vt:lpstr>
      <vt:lpstr>Communication</vt:lpstr>
      <vt:lpstr>The importance of communication</vt:lpstr>
      <vt:lpstr>Most common contributing factors* across all cases</vt:lpstr>
      <vt:lpstr>Provider–provider and provider–patient communication issues</vt:lpstr>
      <vt:lpstr>Issues with communication</vt:lpstr>
      <vt:lpstr>Behavior</vt:lpstr>
      <vt:lpstr>Definitions</vt:lpstr>
      <vt:lpstr>Behaviors</vt:lpstr>
      <vt:lpstr>Inappropriate and disruptive behaviors</vt:lpstr>
      <vt:lpstr>Prevalence and magnitude</vt:lpstr>
      <vt:lpstr>Prevalence and magnitude (continued)</vt:lpstr>
      <vt:lpstr>Potential indicators of disruptive behavior</vt:lpstr>
      <vt:lpstr>Contributing factors to disruptive behavior</vt:lpstr>
      <vt:lpstr>Triggers contributing to disruptive behavior</vt:lpstr>
      <vt:lpstr>Impact of disruptive behavior</vt:lpstr>
      <vt:lpstr>Medical errors</vt:lpstr>
      <vt:lpstr>Decrease in patient satisfaction</vt:lpstr>
      <vt:lpstr>Increase in malpractice claims</vt:lpstr>
      <vt:lpstr>Discouraging disruptive behavior</vt:lpstr>
      <vt:lpstr>Empowering to report</vt:lpstr>
      <vt:lpstr>Promoting professionalism pyramid</vt:lpstr>
      <vt:lpstr>Patient Advocacy Reporting System® (PARS®) national data sample</vt:lpstr>
      <vt:lpstr>Burnout &amp; empathy</vt:lpstr>
      <vt:lpstr>Burnout</vt:lpstr>
      <vt:lpstr>Burnout (continued)</vt:lpstr>
      <vt:lpstr>COVID effect</vt:lpstr>
      <vt:lpstr>Solutions</vt:lpstr>
      <vt:lpstr>Empathy</vt:lpstr>
      <vt:lpstr>Communication strategies with patients</vt:lpstr>
      <vt:lpstr>Communication strategies with patients (continued)</vt:lpstr>
      <vt:lpstr>Risk strategies for surgical teams</vt:lpstr>
      <vt:lpstr>Risk strategies for surgical teams</vt:lpstr>
      <vt:lpstr>Risk strategies for all healthcare teams</vt:lpstr>
      <vt:lpstr>Organizational risk strategies</vt:lpstr>
      <vt:lpstr>Risk strategies for physicians and other providers</vt:lpstr>
      <vt:lpstr>Summary</vt:lpstr>
      <vt:lpstr>Wisdom</vt:lpstr>
    </vt:vector>
  </TitlesOfParts>
  <Company>MedPro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aims Data Snapshot</dc:title>
  <dc:creator>Billingham, Graham</dc:creator>
  <cp:lastModifiedBy>Moore, Shari</cp:lastModifiedBy>
  <cp:revision>136</cp:revision>
  <cp:lastPrinted>2023-08-21T16:09:36Z</cp:lastPrinted>
  <dcterms:created xsi:type="dcterms:W3CDTF">2021-03-08T20:36:19Z</dcterms:created>
  <dcterms:modified xsi:type="dcterms:W3CDTF">2023-08-30T18:43:33Z</dcterms:modified>
</cp:coreProperties>
</file>